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404" r:id="rId2"/>
    <p:sldId id="341" r:id="rId3"/>
    <p:sldId id="387" r:id="rId4"/>
    <p:sldId id="388" r:id="rId5"/>
    <p:sldId id="389" r:id="rId6"/>
    <p:sldId id="397" r:id="rId7"/>
    <p:sldId id="405" r:id="rId8"/>
    <p:sldId id="390" r:id="rId9"/>
    <p:sldId id="364" r:id="rId10"/>
    <p:sldId id="383" r:id="rId11"/>
    <p:sldId id="398" r:id="rId12"/>
    <p:sldId id="406" r:id="rId13"/>
    <p:sldId id="409" r:id="rId14"/>
    <p:sldId id="407" r:id="rId15"/>
    <p:sldId id="408" r:id="rId16"/>
    <p:sldId id="399" r:id="rId17"/>
    <p:sldId id="401" r:id="rId18"/>
    <p:sldId id="400" r:id="rId19"/>
    <p:sldId id="402" r:id="rId20"/>
    <p:sldId id="403" r:id="rId21"/>
    <p:sldId id="336" r:id="rId22"/>
  </p:sldIdLst>
  <p:sldSz cx="9906000" cy="6858000" type="A4"/>
  <p:notesSz cx="6742113" cy="987266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Geneva"/>
        <a:cs typeface="Geneva"/>
      </a:defRPr>
    </a:lvl1pPr>
    <a:lvl2pPr marL="419100" indent="381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Geneva"/>
        <a:cs typeface="Geneva"/>
      </a:defRPr>
    </a:lvl2pPr>
    <a:lvl3pPr marL="839788" indent="74613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Geneva"/>
        <a:cs typeface="Geneva"/>
      </a:defRPr>
    </a:lvl3pPr>
    <a:lvl4pPr marL="1258888" indent="112713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Geneva"/>
        <a:cs typeface="Geneva"/>
      </a:defRPr>
    </a:lvl4pPr>
    <a:lvl5pPr marL="1679575" indent="149225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charset="0"/>
        <a:ea typeface="Geneva"/>
        <a:cs typeface="Geneva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Arial" charset="0"/>
        <a:ea typeface="Geneva"/>
        <a:cs typeface="Geneva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Arial" charset="0"/>
        <a:ea typeface="Geneva"/>
        <a:cs typeface="Geneva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Arial" charset="0"/>
        <a:ea typeface="Geneva"/>
        <a:cs typeface="Geneva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Arial" charset="0"/>
        <a:ea typeface="Geneva"/>
        <a:cs typeface="Geneva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43">
          <p15:clr>
            <a:srgbClr val="A4A3A4"/>
          </p15:clr>
        </p15:guide>
        <p15:guide id="2" orient="horz" pos="1089">
          <p15:clr>
            <a:srgbClr val="A4A3A4"/>
          </p15:clr>
        </p15:guide>
        <p15:guide id="3" pos="4981">
          <p15:clr>
            <a:srgbClr val="A4A3A4"/>
          </p15:clr>
        </p15:guide>
        <p15:guide id="4" pos="1609">
          <p15:clr>
            <a:srgbClr val="A4A3A4"/>
          </p15:clr>
        </p15:guide>
        <p15:guide id="5" pos="5937">
          <p15:clr>
            <a:srgbClr val="A4A3A4"/>
          </p15:clr>
        </p15:guide>
        <p15:guide id="6" pos="3118">
          <p15:clr>
            <a:srgbClr val="A4A3A4"/>
          </p15:clr>
        </p15:guide>
        <p15:guide id="7" pos="35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4B9E"/>
    <a:srgbClr val="23327D"/>
    <a:srgbClr val="14327D"/>
    <a:srgbClr val="0000FF"/>
    <a:srgbClr val="C9C4AE"/>
    <a:srgbClr val="AAAAAA"/>
    <a:srgbClr val="0F2D50"/>
    <a:srgbClr val="0F377D"/>
    <a:srgbClr val="0F3278"/>
    <a:srgbClr val="0F28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éma alapján készült stílus 1 – 2. jelölőszín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Közepesen sötét stílus 2 – 5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Közepesen sötét stílus 2 – 3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éma alapján készült stílus 1 – 3. jelölőszín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Téma alapján készült stílus 2 – 3. jelölőszín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03447BB-5D67-496B-8E87-E561075AD55C}" styleName="Sötét stílus 1 – 3. jelölőszín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ötét stílus 1 – 2. jelölőszín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5758FB7-9AC5-4552-8A53-C91805E547FA}" styleName="Téma alapján készült stílus 1 – 5. jelölőszín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5" autoAdjust="0"/>
    <p:restoredTop sz="88277" autoAdjust="0"/>
  </p:normalViewPr>
  <p:slideViewPr>
    <p:cSldViewPr snapToGrid="0">
      <p:cViewPr varScale="1">
        <p:scale>
          <a:sx n="65" d="100"/>
          <a:sy n="65" d="100"/>
        </p:scale>
        <p:origin x="-1278" y="-96"/>
      </p:cViewPr>
      <p:guideLst>
        <p:guide orient="horz" pos="3843"/>
        <p:guide orient="horz" pos="1089"/>
        <p:guide pos="4981"/>
        <p:guide pos="1609"/>
        <p:guide pos="5937"/>
        <p:guide pos="3118"/>
        <p:guide pos="3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3" d="100"/>
          <a:sy n="123" d="100"/>
        </p:scale>
        <p:origin x="-4856" y="-96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cbpkfp02.rc.hu\home\sardia\Statisztika\Term&#233;kek%20D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/>
          <a:lstStyle/>
          <a:p>
            <a:pPr>
              <a:defRPr/>
            </a:pPr>
            <a:r>
              <a:rPr lang="hu-HU" dirty="0" err="1" smtClean="0"/>
              <a:t>Proportion</a:t>
            </a:r>
            <a:r>
              <a:rPr lang="hu-HU" baseline="0" dirty="0" smtClean="0"/>
              <a:t> of </a:t>
            </a:r>
            <a:r>
              <a:rPr lang="hu-HU" baseline="0" dirty="0" err="1" smtClean="0"/>
              <a:t>th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raffic</a:t>
            </a:r>
            <a:r>
              <a:rPr lang="hu-HU" baseline="0" dirty="0" smtClean="0"/>
              <a:t> </a:t>
            </a:r>
            <a:r>
              <a:rPr lang="hu-HU" baseline="0" dirty="0" err="1" smtClean="0"/>
              <a:t>volum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of</a:t>
            </a:r>
            <a:r>
              <a:rPr lang="hu-HU" baseline="0" dirty="0" smtClean="0"/>
              <a:t> </a:t>
            </a:r>
            <a:r>
              <a:rPr lang="hu-HU" dirty="0" smtClean="0"/>
              <a:t>RCH</a:t>
            </a:r>
            <a:endParaRPr lang="en-US" dirty="0"/>
          </a:p>
        </c:rich>
      </c:tx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Munka1!$B$1</c:f>
              <c:strCache>
                <c:ptCount val="1"/>
                <c:pt idx="0">
                  <c:v>proportion of our traffic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bg2"/>
              </a:solidFill>
            </c:spPr>
          </c:dPt>
          <c:dPt>
            <c:idx val="1"/>
            <c:bubble3D val="0"/>
            <c:spPr>
              <a:solidFill>
                <a:schemeClr val="accent6"/>
              </a:solidFill>
            </c:spPr>
          </c:dPt>
          <c:dLbls>
            <c:dLbl>
              <c:idx val="0"/>
              <c:layout>
                <c:manualLayout>
                  <c:x val="-0.10923357090827603"/>
                  <c:y val="6.4059606928218937E-2"/>
                </c:manualLayout>
              </c:layout>
              <c:tx>
                <c:rich>
                  <a:bodyPr/>
                  <a:lstStyle/>
                  <a:p>
                    <a:pPr>
                      <a:defRPr sz="2400"/>
                    </a:pPr>
                    <a:r>
                      <a:rPr lang="en-US" sz="2400" dirty="0" smtClean="0"/>
                      <a:t>37</a:t>
                    </a:r>
                    <a:r>
                      <a:rPr lang="hu-HU" sz="2400" dirty="0" smtClean="0"/>
                      <a:t>%</a:t>
                    </a:r>
                    <a:endParaRPr lang="en-US" sz="24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5597266929967821"/>
                  <c:y val="-0.10669708770063872"/>
                </c:manualLayout>
              </c:layout>
              <c:tx>
                <c:rich>
                  <a:bodyPr/>
                  <a:lstStyle/>
                  <a:p>
                    <a:pPr>
                      <a:defRPr sz="2400"/>
                    </a:pPr>
                    <a:r>
                      <a:rPr lang="en-US" sz="2400" dirty="0" smtClean="0"/>
                      <a:t>63</a:t>
                    </a:r>
                    <a:r>
                      <a:rPr lang="hu-HU" sz="2400" dirty="0" smtClean="0"/>
                      <a:t>%</a:t>
                    </a:r>
                    <a:endParaRPr lang="en-US" sz="24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Munka1!$A$2:$A$3</c:f>
              <c:strCache>
                <c:ptCount val="2"/>
                <c:pt idx="0">
                  <c:v>Single-wagon traffic</c:v>
                </c:pt>
                <c:pt idx="1">
                  <c:v>Block train traffic</c:v>
                </c:pt>
              </c:strCache>
            </c:strRef>
          </c:cat>
          <c:val>
            <c:numRef>
              <c:f>Munka1!$B$2:$B$3</c:f>
              <c:numCache>
                <c:formatCode>General</c:formatCode>
                <c:ptCount val="2"/>
                <c:pt idx="0">
                  <c:v>37</c:v>
                </c:pt>
                <c:pt idx="1">
                  <c:v>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140"/>
      <c:rAngAx val="0"/>
      <c:perspective val="2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0507390932888404E-2"/>
          <c:y val="9.2480646640009476E-2"/>
          <c:w val="0.87336314902362555"/>
          <c:h val="0.84774498374987339"/>
        </c:manualLayout>
      </c:layout>
      <c:pie3DChart>
        <c:varyColors val="1"/>
        <c:ser>
          <c:idx val="0"/>
          <c:order val="0"/>
          <c:explosion val="25"/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5"/>
            <c:bubble3D val="0"/>
            <c:spPr>
              <a:solidFill>
                <a:srgbClr val="234B9E"/>
              </a:solidFill>
            </c:spPr>
          </c:dPt>
          <c:dPt>
            <c:idx val="7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</c:spPr>
          </c:dPt>
          <c:dPt>
            <c:idx val="8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9"/>
            <c:bubble3D val="0"/>
            <c:spPr>
              <a:solidFill>
                <a:srgbClr val="0070C0"/>
              </a:solidFill>
            </c:spPr>
          </c:dPt>
          <c:dPt>
            <c:idx val="10"/>
            <c:bubble3D val="0"/>
            <c:spPr>
              <a:solidFill>
                <a:schemeClr val="bg2">
                  <a:lumMod val="50000"/>
                </a:schemeClr>
              </a:solidFill>
            </c:spPr>
          </c:dPt>
          <c:dLbls>
            <c:dLbl>
              <c:idx val="0"/>
              <c:layout>
                <c:manualLayout>
                  <c:x val="-7.9842970067611221E-2"/>
                  <c:y val="-1.6714323975847142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Energy</a:t>
                    </a:r>
                    <a:r>
                      <a:rPr lang="en-US" sz="1400" dirty="0"/>
                      <a:t>
</a:t>
                    </a:r>
                    <a:r>
                      <a:rPr lang="en-US" sz="1400" dirty="0" smtClean="0"/>
                      <a:t>3</a:t>
                    </a:r>
                    <a:r>
                      <a:rPr lang="hu-HU" sz="1400" dirty="0" smtClean="0"/>
                      <a:t>2</a:t>
                    </a:r>
                    <a:r>
                      <a:rPr lang="en-US" sz="140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1.7409257472785104E-2"/>
                  <c:y val="-4.8869916577532715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Building Material</a:t>
                    </a:r>
                    <a:r>
                      <a:rPr lang="hu-HU" sz="1400" dirty="0"/>
                      <a:t>
</a:t>
                    </a:r>
                    <a:r>
                      <a:rPr lang="hu-HU" sz="1400" dirty="0" smtClean="0"/>
                      <a:t>11%</a:t>
                    </a:r>
                    <a:endParaRPr lang="hu-HU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7.1548246918876332E-2"/>
                  <c:y val="-5.1957483556726074E-2"/>
                </c:manualLayout>
              </c:layout>
              <c:tx>
                <c:rich>
                  <a:bodyPr/>
                  <a:lstStyle/>
                  <a:p>
                    <a:r>
                      <a:rPr lang="hu-HU" sz="1400" b="0" i="0" u="none" strike="noStrike" baseline="0" dirty="0" err="1" smtClean="0">
                        <a:effectLst/>
                      </a:rPr>
                      <a:t>Empty</a:t>
                    </a:r>
                    <a:r>
                      <a:rPr lang="hu-HU" sz="1400" b="0" i="0" u="none" strike="noStrike" baseline="0" dirty="0" smtClean="0">
                        <a:effectLst/>
                      </a:rPr>
                      <a:t> </a:t>
                    </a:r>
                    <a:r>
                      <a:rPr lang="hu-HU" sz="1400" b="0" i="0" u="none" strike="noStrike" baseline="0" dirty="0" err="1" smtClean="0">
                        <a:effectLst/>
                      </a:rPr>
                      <a:t>wagons</a:t>
                    </a:r>
                    <a:r>
                      <a:rPr lang="en-US" sz="1400" dirty="0"/>
                      <a:t>
</a:t>
                    </a:r>
                    <a:r>
                      <a:rPr lang="en-US" sz="1400" dirty="0" smtClean="0"/>
                      <a:t>1</a:t>
                    </a:r>
                    <a:r>
                      <a:rPr lang="hu-HU" sz="1400" dirty="0" smtClean="0"/>
                      <a:t>3</a:t>
                    </a:r>
                    <a:r>
                      <a:rPr lang="en-US" sz="140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7.93605575953443E-2"/>
                  <c:y val="1.9772704251129269E-2"/>
                </c:manualLayout>
              </c:layout>
              <c:tx>
                <c:rich>
                  <a:bodyPr/>
                  <a:lstStyle/>
                  <a:p>
                    <a:r>
                      <a:rPr lang="hu-HU" sz="1400" dirty="0" smtClean="0"/>
                      <a:t>Intermodal</a:t>
                    </a:r>
                    <a:r>
                      <a:rPr lang="en-US" sz="1400" dirty="0"/>
                      <a:t>
9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3.7734941279836537E-2"/>
                  <c:y val="-1.9217945196329814E-2"/>
                </c:manualLayout>
              </c:layout>
              <c:tx>
                <c:rich>
                  <a:bodyPr/>
                  <a:lstStyle/>
                  <a:p>
                    <a:r>
                      <a:rPr lang="hu-HU" sz="1400" b="0" i="0" u="none" strike="noStrike" baseline="0" dirty="0" err="1" smtClean="0">
                        <a:effectLst/>
                      </a:rPr>
                      <a:t>Mineral</a:t>
                    </a:r>
                    <a:r>
                      <a:rPr lang="hu-HU" sz="1400" b="0" i="0" u="none" strike="noStrike" baseline="0" dirty="0" smtClean="0">
                        <a:effectLst/>
                      </a:rPr>
                      <a:t> </a:t>
                    </a:r>
                    <a:r>
                      <a:rPr lang="hu-HU" sz="1400" b="0" i="0" u="none" strike="noStrike" baseline="0" dirty="0" err="1" smtClean="0">
                        <a:effectLst/>
                      </a:rPr>
                      <a:t>oil</a:t>
                    </a:r>
                    <a:r>
                      <a:rPr lang="en-US" sz="1400" dirty="0"/>
                      <a:t>
</a:t>
                    </a:r>
                    <a:r>
                      <a:rPr lang="hu-HU" sz="1400" dirty="0" smtClean="0"/>
                      <a:t>7</a:t>
                    </a:r>
                    <a:r>
                      <a:rPr lang="en-US" sz="140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2.0203898382600203E-2"/>
                  <c:y val="-4.9828785644262151E-2"/>
                </c:manualLayout>
              </c:layout>
              <c:tx>
                <c:rich>
                  <a:bodyPr/>
                  <a:lstStyle/>
                  <a:p>
                    <a:r>
                      <a:rPr lang="hu-HU" sz="1400" b="0" i="0" u="none" strike="noStrike" baseline="0" dirty="0" err="1" smtClean="0">
                        <a:effectLst/>
                      </a:rPr>
                      <a:t>Agrar</a:t>
                    </a:r>
                    <a:r>
                      <a:rPr lang="hu-HU" sz="1400" dirty="0"/>
                      <a:t>
</a:t>
                    </a:r>
                    <a:r>
                      <a:rPr lang="hu-HU" sz="1400" dirty="0" smtClean="0"/>
                      <a:t>6%</a:t>
                    </a:r>
                    <a:endParaRPr lang="hu-HU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2.9304769187061833E-2"/>
                  <c:y val="2.8517126586168591E-3"/>
                </c:manualLayout>
              </c:layout>
              <c:tx>
                <c:rich>
                  <a:bodyPr/>
                  <a:lstStyle/>
                  <a:p>
                    <a:r>
                      <a:rPr lang="hu-HU" sz="1400" b="0" i="0" u="none" strike="noStrike" baseline="0" dirty="0" err="1" smtClean="0">
                        <a:effectLst/>
                      </a:rPr>
                      <a:t>Chemicals</a:t>
                    </a:r>
                    <a:r>
                      <a:rPr lang="en-US" dirty="0"/>
                      <a:t>
6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layout>
                <c:manualLayout>
                  <c:x val="5.8980129117682092E-2"/>
                  <c:y val="-3.3907867876941986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Steel</a:t>
                    </a:r>
                    <a:r>
                      <a:rPr lang="en-US" sz="1400" dirty="0"/>
                      <a:t>
</a:t>
                    </a:r>
                    <a:r>
                      <a:rPr lang="hu-HU" sz="1400" dirty="0" smtClean="0"/>
                      <a:t>7</a:t>
                    </a:r>
                    <a:r>
                      <a:rPr lang="en-US" sz="140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8"/>
              <c:layout>
                <c:manualLayout>
                  <c:x val="4.7957753719540322E-2"/>
                  <c:y val="-3.3922024971094138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Wood</a:t>
                    </a:r>
                    <a:endParaRPr lang="hu-HU" sz="1400" b="0" i="0" u="none" strike="noStrike" baseline="0" dirty="0" smtClean="0">
                      <a:effectLst/>
                    </a:endParaRPr>
                  </a:p>
                  <a:p>
                    <a:r>
                      <a:rPr lang="en-US" dirty="0" smtClean="0"/>
                      <a:t>4</a:t>
                    </a:r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9"/>
              <c:layout>
                <c:manualLayout>
                  <c:x val="5.6440132386614703E-2"/>
                  <c:y val="-1.0009966400953203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Automotive</a:t>
                    </a:r>
                    <a:r>
                      <a:rPr lang="en-US" sz="1400" dirty="0"/>
                      <a:t>
</a:t>
                    </a:r>
                    <a:r>
                      <a:rPr lang="hu-HU" sz="1400" dirty="0" smtClean="0"/>
                      <a:t>3</a:t>
                    </a:r>
                    <a:r>
                      <a:rPr lang="en-US" sz="140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0"/>
              <c:layout>
                <c:manualLayout>
                  <c:x val="0.11744481402858525"/>
                  <c:y val="7.2299954201375222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Paper</a:t>
                    </a:r>
                    <a:endParaRPr lang="en-US" dirty="0"/>
                  </a:p>
                  <a:p>
                    <a:r>
                      <a:rPr lang="en-US" dirty="0"/>
                      <a:t>
2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1"/>
              <c:layout>
                <c:manualLayout>
                  <c:x val="-0.10065979938892065"/>
                  <c:y val="8.7945053557175357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i="0" u="none" strike="noStrike" baseline="0" dirty="0" smtClean="0">
                        <a:effectLst/>
                      </a:rPr>
                      <a:t>Consumer Goods</a:t>
                    </a:r>
                    <a:r>
                      <a:rPr lang="en-US" dirty="0"/>
                      <a:t>
0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hu-H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Jelentés 1'!$C$5:$C$16</c:f>
              <c:strCache>
                <c:ptCount val="12"/>
                <c:pt idx="0">
                  <c:v>Nyersanyag</c:v>
                </c:pt>
                <c:pt idx="1">
                  <c:v>Építőanyagok</c:v>
                </c:pt>
                <c:pt idx="2">
                  <c:v>Üres kocsi</c:v>
                </c:pt>
                <c:pt idx="3">
                  <c:v>Kíséretlen küldemény</c:v>
                </c:pt>
                <c:pt idx="4">
                  <c:v>Ásványolaj</c:v>
                </c:pt>
                <c:pt idx="5">
                  <c:v>Mezőgazdaság</c:v>
                </c:pt>
                <c:pt idx="6">
                  <c:v>Vegyi áruk</c:v>
                </c:pt>
                <c:pt idx="7">
                  <c:v>Acéláru</c:v>
                </c:pt>
                <c:pt idx="8">
                  <c:v>Fa</c:v>
                </c:pt>
                <c:pt idx="9">
                  <c:v>Autóipar</c:v>
                </c:pt>
                <c:pt idx="10">
                  <c:v>Papír_x000d_</c:v>
                </c:pt>
                <c:pt idx="11">
                  <c:v>Iparcikk</c:v>
                </c:pt>
              </c:strCache>
            </c:strRef>
          </c:cat>
          <c:val>
            <c:numRef>
              <c:f>'Jelentés 1'!$D$5:$D$16</c:f>
              <c:numCache>
                <c:formatCode>#,##0</c:formatCode>
                <c:ptCount val="12"/>
                <c:pt idx="0">
                  <c:v>9849329.2170000002</c:v>
                </c:pt>
                <c:pt idx="1">
                  <c:v>4023621.05</c:v>
                </c:pt>
                <c:pt idx="2">
                  <c:v>3889098.9029999999</c:v>
                </c:pt>
                <c:pt idx="3">
                  <c:v>2774469.736</c:v>
                </c:pt>
                <c:pt idx="4">
                  <c:v>2631598.0750000002</c:v>
                </c:pt>
                <c:pt idx="5">
                  <c:v>2057212.733</c:v>
                </c:pt>
                <c:pt idx="6">
                  <c:v>1987024.4269999999</c:v>
                </c:pt>
                <c:pt idx="7">
                  <c:v>1841145.6140000001</c:v>
                </c:pt>
                <c:pt idx="8">
                  <c:v>1252942.32</c:v>
                </c:pt>
                <c:pt idx="9">
                  <c:v>758147.81700000004</c:v>
                </c:pt>
                <c:pt idx="10">
                  <c:v>530876.04299999995</c:v>
                </c:pt>
                <c:pt idx="11">
                  <c:v>116629.53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0531" y="2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9035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0531" y="9379035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C1265DBA-97B7-4709-86BC-569D8EE687E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2654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0531" y="2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6913" y="739775"/>
            <a:ext cx="5348287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950" y="4689519"/>
            <a:ext cx="4944217" cy="4442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9035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0531" y="9379035"/>
            <a:ext cx="2921582" cy="493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827" tIns="45414" rIns="90827" bIns="45414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A2995610-FC19-4E51-A24D-47FB22F7F6F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54790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Geneva" charset="0"/>
        <a:cs typeface="Geneva" charset="0"/>
      </a:defRPr>
    </a:lvl1pPr>
    <a:lvl2pPr marL="4191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2pPr>
    <a:lvl3pPr marL="839788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3pPr>
    <a:lvl4pPr marL="1258888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4pPr>
    <a:lvl5pPr marL="167957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5pPr>
    <a:lvl6pPr marL="2099691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41993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5325" y="739775"/>
            <a:ext cx="5351463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3897" y="4690071"/>
            <a:ext cx="5394321" cy="4442224"/>
          </a:xfrm>
          <a:prstGeom prst="rect">
            <a:avLst/>
          </a:prstGeom>
        </p:spPr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519786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39852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363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1995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3916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1738E-10C0-574B-A5B1-05648F4397CC}" type="slidenum">
              <a:rPr lang="de-DE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908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2441738E-10C0-574B-A5B1-05648F4397CC}" type="slidenum">
              <a:rPr/>
              <a:pPr algn="l" rtl="0"/>
              <a:t>4</a:t>
            </a:fld>
            <a:endParaRPr lang="en"/>
          </a:p>
        </p:txBody>
      </p:sp>
      <p:sp>
        <p:nvSpPr>
          <p:cNvPr id="5" name="Dátum hely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052391DA-266A-4B0C-8957-E3FBE30BBDAC}" type="datetime1">
              <a:rPr lang="hu-HU" smtClean="0"/>
              <a:t>2017.06.01.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7233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1738E-10C0-574B-A5B1-05648F4397C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911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41738E-10C0-574B-A5B1-05648F4397CC}" type="slidenum">
              <a:rPr lang="de-DE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6106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5" name="Dátum helye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452766A3-FAC5-4F95-8AE3-503411CA3545}" type="datetime1">
              <a:rPr lang="hu-HU" smtClean="0"/>
              <a:t>2017.06.01.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6895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696913" y="739775"/>
            <a:ext cx="5348287" cy="3703638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Frissíteni, KÉSZ</a:t>
            </a:r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696CB39-32A4-4203-93F1-DBB232AD5FE1}" type="datetime1">
              <a:rPr lang="hu-HU" smtClean="0">
                <a:solidFill>
                  <a:prstClr val="black"/>
                </a:solidFill>
              </a:rPr>
              <a:pPr>
                <a:defRPr/>
              </a:pPr>
              <a:t>2017.06.01.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129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sz="1100" kern="1200" dirty="0" smtClean="0">
                <a:solidFill>
                  <a:schemeClr val="tx1"/>
                </a:solidFill>
                <a:effectLst/>
                <a:latin typeface="Arial" charset="0"/>
                <a:ea typeface="Geneva" charset="0"/>
                <a:cs typeface="Geneva" charset="0"/>
              </a:rPr>
              <a:t>Az OSZZSD KGD határozatának megfelelően a PGV tagok egymás között közvetlenül kell, hogy leszámoljanak, ennek megfelelően kezdeményeztük az </a:t>
            </a:r>
            <a:r>
              <a:rPr lang="hu-HU" sz="1100" kern="1200" dirty="0" err="1" smtClean="0">
                <a:solidFill>
                  <a:schemeClr val="tx1"/>
                </a:solidFill>
                <a:effectLst/>
                <a:latin typeface="Arial" charset="0"/>
                <a:ea typeface="Geneva" charset="0"/>
                <a:cs typeface="Geneva" charset="0"/>
              </a:rPr>
              <a:t>RZD-vel</a:t>
            </a:r>
            <a:r>
              <a:rPr lang="hu-HU" sz="1100" kern="1200" dirty="0" smtClean="0">
                <a:solidFill>
                  <a:schemeClr val="tx1"/>
                </a:solidFill>
                <a:effectLst/>
                <a:latin typeface="Arial" charset="0"/>
                <a:ea typeface="Geneva" charset="0"/>
                <a:cs typeface="Geneva" charset="0"/>
              </a:rPr>
              <a:t> kétoldalú leszámolási megállapodás megkötetést.</a:t>
            </a:r>
          </a:p>
          <a:p>
            <a:r>
              <a:rPr lang="hu-HU" sz="1100" kern="1200" dirty="0" smtClean="0">
                <a:solidFill>
                  <a:schemeClr val="tx1"/>
                </a:solidFill>
                <a:effectLst/>
                <a:latin typeface="Arial" charset="0"/>
                <a:ea typeface="Geneva" charset="0"/>
                <a:cs typeface="Geneva" charset="0"/>
              </a:rPr>
              <a:t>Jelenleg a megállapodás szövegének egyeztetése folyik, amelyet szakértői egyeztetés fog követni. A megállapodás a PGV tagságunkkal egy időben 2017. július 01-től lép hatályba.</a:t>
            </a:r>
            <a:endParaRPr lang="hu-HU" sz="1100" kern="1200" dirty="0">
              <a:solidFill>
                <a:schemeClr val="tx1"/>
              </a:solidFill>
              <a:effectLst/>
              <a:latin typeface="Arial" charset="0"/>
              <a:ea typeface="Geneva" charset="0"/>
              <a:cs typeface="Geneva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93847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995610-FC19-4E51-A24D-47FB22F7F6F7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7548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grauem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0" y="1304925"/>
            <a:ext cx="9906000" cy="5075238"/>
          </a:xfrm>
          <a:prstGeom prst="rect">
            <a:avLst/>
          </a:prstGeom>
          <a:solidFill>
            <a:srgbClr val="E6E6E6"/>
          </a:solidFill>
          <a:ln w="9525">
            <a:noFill/>
            <a:miter lim="800000"/>
            <a:headEnd/>
            <a:tailEnd/>
          </a:ln>
        </p:spPr>
        <p:txBody>
          <a:bodyPr wrap="none" lIns="83988" tIns="41994" rIns="83988" bIns="41994" anchor="ctr"/>
          <a:lstStyle/>
          <a:p>
            <a:pPr eaLnBrk="0" hangingPunct="0">
              <a:defRPr/>
            </a:pPr>
            <a:endParaRPr lang="de-AT" dirty="0">
              <a:ea typeface="Geneva" charset="-128"/>
              <a:cs typeface="Geneva" charset="-128"/>
            </a:endParaRPr>
          </a:p>
        </p:txBody>
      </p:sp>
      <p:sp>
        <p:nvSpPr>
          <p:cNvPr id="7" name="Rechteck 14"/>
          <p:cNvSpPr>
            <a:spLocks noChangeArrowheads="1"/>
          </p:cNvSpPr>
          <p:nvPr userDrawn="1"/>
        </p:nvSpPr>
        <p:spPr bwMode="auto">
          <a:xfrm>
            <a:off x="469900" y="6451600"/>
            <a:ext cx="5905500" cy="317500"/>
          </a:xfrm>
          <a:prstGeom prst="rect">
            <a:avLst/>
          </a:prstGeom>
          <a:solidFill>
            <a:srgbClr val="FFFFFF"/>
          </a:solidFill>
          <a:ln>
            <a:noFill/>
          </a:ln>
          <a:extLst/>
        </p:spPr>
        <p:txBody>
          <a:bodyPr lIns="83988" tIns="41994" rIns="83988" bIns="41994"/>
          <a:lstStyle/>
          <a:p>
            <a:pPr eaLnBrk="0" hangingPunct="0">
              <a:defRPr/>
            </a:pPr>
            <a:endParaRPr lang="de-DE" dirty="0">
              <a:ea typeface="MS PGothic" pitchFamily="34" charset="-128"/>
              <a:cs typeface="Geneva" charset="0"/>
            </a:endParaRPr>
          </a:p>
        </p:txBody>
      </p:sp>
      <p:sp>
        <p:nvSpPr>
          <p:cNvPr id="9" name="Rechteck 14"/>
          <p:cNvSpPr>
            <a:spLocks noChangeArrowheads="1"/>
          </p:cNvSpPr>
          <p:nvPr userDrawn="1"/>
        </p:nvSpPr>
        <p:spPr bwMode="auto">
          <a:xfrm>
            <a:off x="6621463" y="100013"/>
            <a:ext cx="2135187" cy="847725"/>
          </a:xfrm>
          <a:prstGeom prst="rect">
            <a:avLst/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83988" tIns="41994" rIns="83988" bIns="41994"/>
          <a:lstStyle/>
          <a:p>
            <a:pPr eaLnBrk="0" hangingPunct="0">
              <a:defRPr/>
            </a:pPr>
            <a:endParaRPr lang="de-DE" dirty="0"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/>
          </p:nvPr>
        </p:nvSpPr>
        <p:spPr>
          <a:xfrm>
            <a:off x="0" y="1303200"/>
            <a:ext cx="9906000" cy="5076000"/>
          </a:xfrm>
          <a:ln>
            <a:noFill/>
          </a:ln>
        </p:spPr>
        <p:txBody>
          <a:bodyPr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60551" y="1600686"/>
            <a:ext cx="8852576" cy="1871555"/>
          </a:xfrm>
        </p:spPr>
        <p:txBody>
          <a:bodyPr anchor="t">
            <a:normAutofit/>
          </a:bodyPr>
          <a:lstStyle>
            <a:lvl1pPr>
              <a:defRPr sz="46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60551" y="3886200"/>
            <a:ext cx="8852576" cy="17526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>
                <a:solidFill>
                  <a:srgbClr val="575757"/>
                </a:solidFill>
              </a:defRPr>
            </a:lvl1pPr>
            <a:lvl2pPr marL="478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60550" y="2384250"/>
            <a:ext cx="8852577" cy="980039"/>
          </a:xfrm>
        </p:spPr>
        <p:txBody>
          <a:bodyPr>
            <a:normAutofit/>
          </a:bodyPr>
          <a:lstStyle>
            <a:lvl1pPr marL="0" indent="0">
              <a:buNone/>
              <a:defRPr sz="2600" b="1" baseline="0">
                <a:solidFill>
                  <a:srgbClr val="575757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2355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400" y="404076"/>
            <a:ext cx="1951200" cy="3607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60551" y="1728896"/>
            <a:ext cx="8852576" cy="437190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6F4303-2A52-4192-836D-2D5C0FE463E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60551" y="2188359"/>
            <a:ext cx="8852576" cy="391244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60551" y="1728896"/>
            <a:ext cx="8852576" cy="445979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959595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64B52-6C02-4837-A19B-AF7BE213DE6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60551" y="1728896"/>
            <a:ext cx="4204800" cy="4371903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</p:nvPr>
        </p:nvSpPr>
        <p:spPr>
          <a:xfrm>
            <a:off x="4953000" y="1728896"/>
            <a:ext cx="4440600" cy="4371903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8746DC-0C15-4D8C-9D23-F09C454DDC1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60551" y="1728896"/>
            <a:ext cx="4204800" cy="210650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</p:nvPr>
        </p:nvSpPr>
        <p:spPr>
          <a:xfrm>
            <a:off x="4953000" y="1728896"/>
            <a:ext cx="4440600" cy="2106000"/>
          </a:xfrm>
        </p:spPr>
        <p:txBody>
          <a:bodyPr/>
          <a:lstStyle>
            <a:lvl1pPr marL="0" indent="0">
              <a:buClr>
                <a:schemeClr val="accent6"/>
              </a:buClr>
              <a:buFontTx/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13"/>
          <p:cNvSpPr>
            <a:spLocks noGrp="1"/>
          </p:cNvSpPr>
          <p:nvPr>
            <p:ph sz="quarter" idx="21"/>
          </p:nvPr>
        </p:nvSpPr>
        <p:spPr>
          <a:xfrm>
            <a:off x="560551" y="3996596"/>
            <a:ext cx="4204800" cy="210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3"/>
          <p:cNvSpPr>
            <a:spLocks noGrp="1"/>
          </p:cNvSpPr>
          <p:nvPr>
            <p:ph sz="quarter" idx="22"/>
          </p:nvPr>
        </p:nvSpPr>
        <p:spPr>
          <a:xfrm>
            <a:off x="4953000" y="3996000"/>
            <a:ext cx="4440600" cy="210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2" name="Rectangle 22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78CE17-CBAB-4AE5-B2CF-8054B742F5B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60551" y="2188359"/>
            <a:ext cx="4204800" cy="391244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60551" y="1728896"/>
            <a:ext cx="8852576" cy="445979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959595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Inhaltsplatzhalter 13"/>
          <p:cNvSpPr>
            <a:spLocks noGrp="1"/>
          </p:cNvSpPr>
          <p:nvPr>
            <p:ph sz="quarter" idx="17"/>
          </p:nvPr>
        </p:nvSpPr>
        <p:spPr>
          <a:xfrm>
            <a:off x="4953000" y="2188359"/>
            <a:ext cx="4458800" cy="391244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A14DBE-6749-41E1-90EB-E6FBCC4C946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60552" y="2188359"/>
            <a:ext cx="4206333" cy="391244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60552" y="1728896"/>
            <a:ext cx="4218104" cy="445979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959595"/>
                </a:solidFill>
              </a:defRPr>
            </a:lvl1pPr>
            <a:lvl2pPr marL="478940" indent="0">
              <a:buNone/>
              <a:defRPr sz="2100" b="1"/>
            </a:lvl2pPr>
            <a:lvl3pPr marL="957879" indent="0">
              <a:buNone/>
              <a:defRPr sz="1900" b="1"/>
            </a:lvl3pPr>
            <a:lvl4pPr marL="1436819" indent="0">
              <a:buNone/>
              <a:defRPr sz="1700" b="1"/>
            </a:lvl4pPr>
            <a:lvl5pPr marL="1915758" indent="0">
              <a:buNone/>
              <a:defRPr sz="1700" b="1"/>
            </a:lvl5pPr>
            <a:lvl6pPr marL="2394698" indent="0">
              <a:buNone/>
              <a:defRPr sz="1700" b="1"/>
            </a:lvl6pPr>
            <a:lvl7pPr marL="2873637" indent="0">
              <a:buNone/>
              <a:defRPr sz="1700" b="1"/>
            </a:lvl7pPr>
            <a:lvl8pPr marL="3352576" indent="0">
              <a:buNone/>
              <a:defRPr sz="1700" b="1"/>
            </a:lvl8pPr>
            <a:lvl9pPr marL="3831516" indent="0">
              <a:buNone/>
              <a:defRPr sz="17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4954558" y="1305793"/>
            <a:ext cx="4954558" cy="5066479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de-DE" noProof="0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6AC496-7574-44FA-87D7-540498B5DB4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B2CF7-272A-487E-A67D-10530ABE348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23.03.2017.</a:t>
            </a:r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418EE7-A63A-424F-873A-82175A2035C5}" type="slidenum">
              <a:rPr lang="hu-HU" smtClean="0"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03618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5"/>
          <p:cNvSpPr>
            <a:spLocks noChangeArrowheads="1"/>
          </p:cNvSpPr>
          <p:nvPr userDrawn="1"/>
        </p:nvSpPr>
        <p:spPr bwMode="auto">
          <a:xfrm>
            <a:off x="561975" y="6430963"/>
            <a:ext cx="166687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57263">
              <a:spcBef>
                <a:spcPct val="50000"/>
              </a:spcBef>
              <a:defRPr/>
            </a:pPr>
            <a:r>
              <a:rPr lang="de-DE" sz="900" dirty="0" smtClean="0">
                <a:ea typeface="Arial" charset="0"/>
                <a:cs typeface="Arial" charset="0"/>
              </a:rPr>
              <a:t>Rail Cargo Hungaria</a:t>
            </a:r>
            <a:endParaRPr lang="de-DE" sz="900" dirty="0">
              <a:ea typeface="Arial" charset="0"/>
              <a:cs typeface="Arial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0388" y="1728788"/>
            <a:ext cx="8853487" cy="437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6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7907338" y="6430963"/>
            <a:ext cx="647700" cy="2635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900"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hu-HU" smtClean="0"/>
              <a:t>23.03.2017.</a:t>
            </a:r>
            <a:endParaRPr lang="de-DE" dirty="0"/>
          </a:p>
        </p:txBody>
      </p:sp>
      <p:sp>
        <p:nvSpPr>
          <p:cNvPr id="17" name="Fußzeilenplatzhalter 3"/>
          <p:cNvSpPr>
            <a:spLocks noGrp="1"/>
          </p:cNvSpPr>
          <p:nvPr>
            <p:ph type="ftr" sz="quarter" idx="3"/>
          </p:nvPr>
        </p:nvSpPr>
        <p:spPr bwMode="auto">
          <a:xfrm>
            <a:off x="2476800" y="6430963"/>
            <a:ext cx="4571700" cy="3619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900">
                <a:latin typeface="Arial" pitchFamily="1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23350" y="6430963"/>
            <a:ext cx="388938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90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18623BAD-E396-4B52-B081-EE3B5778BD2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31" name="Titelplatzhalter 1"/>
          <p:cNvSpPr>
            <a:spLocks noGrp="1"/>
          </p:cNvSpPr>
          <p:nvPr>
            <p:ph type="title"/>
          </p:nvPr>
        </p:nvSpPr>
        <p:spPr bwMode="auto">
          <a:xfrm>
            <a:off x="560388" y="504825"/>
            <a:ext cx="5865812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cxnSp>
        <p:nvCxnSpPr>
          <p:cNvPr id="1032" name="Gerade Verbindung 10"/>
          <p:cNvCxnSpPr>
            <a:cxnSpLocks noChangeShapeType="1"/>
          </p:cNvCxnSpPr>
          <p:nvPr userDrawn="1"/>
        </p:nvCxnSpPr>
        <p:spPr bwMode="auto">
          <a:xfrm>
            <a:off x="560388" y="6365875"/>
            <a:ext cx="8853487" cy="0"/>
          </a:xfrm>
          <a:prstGeom prst="line">
            <a:avLst/>
          </a:prstGeom>
          <a:noFill/>
          <a:ln w="12700">
            <a:solidFill>
              <a:srgbClr val="C1C1C1"/>
            </a:solidFill>
            <a:round/>
            <a:headEnd/>
            <a:tailEnd/>
          </a:ln>
        </p:spPr>
      </p:cxnSp>
      <p:pic>
        <p:nvPicPr>
          <p:cNvPr id="1033" name="Picture 33" descr="grauer Streifen_RCA"/>
          <p:cNvPicPr>
            <a:picLocks noChangeAspect="1" noChangeArrowheads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41413"/>
            <a:ext cx="9906000" cy="16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0" name="Picture 2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600" y="414320"/>
            <a:ext cx="1353600" cy="250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6" r:id="rId2"/>
    <p:sldLayoutId id="2147483655" r:id="rId3"/>
    <p:sldLayoutId id="2147483654" r:id="rId4"/>
    <p:sldLayoutId id="2147483653" r:id="rId5"/>
    <p:sldLayoutId id="2147483652" r:id="rId6"/>
    <p:sldLayoutId id="2147483651" r:id="rId7"/>
    <p:sldLayoutId id="2147483650" r:id="rId8"/>
    <p:sldLayoutId id="214748366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31863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+mj-lt"/>
          <a:ea typeface="Geneva" charset="0"/>
          <a:cs typeface="Geneva" charset="0"/>
        </a:defRPr>
      </a:lvl1pPr>
      <a:lvl2pPr algn="l" defTabSz="931863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2pPr>
      <a:lvl3pPr algn="l" defTabSz="931863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3pPr>
      <a:lvl4pPr algn="l" defTabSz="931863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4pPr>
      <a:lvl5pPr algn="l" defTabSz="931863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5pPr>
      <a:lvl6pPr marL="419938" algn="l" defTabSz="933196" rtl="0" fontAlgn="base">
        <a:spcBef>
          <a:spcPct val="0"/>
        </a:spcBef>
        <a:spcAft>
          <a:spcPct val="0"/>
        </a:spcAft>
        <a:defRPr sz="33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6pPr>
      <a:lvl7pPr marL="839876" algn="l" defTabSz="933196" rtl="0" fontAlgn="base">
        <a:spcBef>
          <a:spcPct val="0"/>
        </a:spcBef>
        <a:spcAft>
          <a:spcPct val="0"/>
        </a:spcAft>
        <a:defRPr sz="33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7pPr>
      <a:lvl8pPr marL="1259815" algn="l" defTabSz="933196" rtl="0" fontAlgn="base">
        <a:spcBef>
          <a:spcPct val="0"/>
        </a:spcBef>
        <a:spcAft>
          <a:spcPct val="0"/>
        </a:spcAft>
        <a:defRPr sz="33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8pPr>
      <a:lvl9pPr marL="1679753" algn="l" defTabSz="933196" rtl="0" fontAlgn="base">
        <a:spcBef>
          <a:spcPct val="0"/>
        </a:spcBef>
        <a:spcAft>
          <a:spcPct val="0"/>
        </a:spcAft>
        <a:defRPr sz="33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931863" rtl="0" eaLnBrk="0" fontAlgn="base" hangingPunct="0">
        <a:spcBef>
          <a:spcPts val="925"/>
        </a:spcBef>
        <a:spcAft>
          <a:spcPct val="0"/>
        </a:spcAft>
        <a:buClr>
          <a:schemeClr val="accent6"/>
        </a:buClr>
        <a:buFontTx/>
        <a:buNone/>
        <a:defRPr>
          <a:solidFill>
            <a:schemeClr val="tx1"/>
          </a:solidFill>
          <a:latin typeface="+mn-lt"/>
          <a:ea typeface="Geneva" charset="0"/>
          <a:cs typeface="Geneva" charset="0"/>
        </a:defRPr>
      </a:lvl1pPr>
      <a:lvl2pPr marL="260350" indent="-260350" algn="l" defTabSz="931863" rtl="0" eaLnBrk="0" fontAlgn="base" hangingPunct="0">
        <a:spcBef>
          <a:spcPts val="1300"/>
        </a:spcBef>
        <a:spcAft>
          <a:spcPct val="0"/>
        </a:spcAft>
        <a:buClr>
          <a:schemeClr val="accent6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2pPr>
      <a:lvl3pPr marL="560388" indent="-296863" algn="l" defTabSz="931863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3pPr>
      <a:lvl4pPr marL="835025" indent="-279400" algn="l" defTabSz="931863" rtl="0" eaLnBrk="0" fontAlgn="base" hangingPunct="0">
        <a:spcBef>
          <a:spcPct val="20000"/>
        </a:spcBef>
        <a:spcAft>
          <a:spcPct val="0"/>
        </a:spcAft>
        <a:buSzPct val="100000"/>
        <a:buChar char="•"/>
        <a:defRPr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4pPr>
      <a:lvl5pPr marL="1123950" indent="-273050" algn="l" defTabSz="931863" rtl="0" eaLnBrk="0" fontAlgn="base" hangingPunct="0">
        <a:spcBef>
          <a:spcPct val="20000"/>
        </a:spcBef>
        <a:spcAft>
          <a:spcPct val="0"/>
        </a:spcAft>
        <a:buClr>
          <a:srgbClr val="909090"/>
        </a:buClr>
        <a:buSzPct val="100000"/>
        <a:buChar char="-"/>
        <a:defRPr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5pPr>
      <a:lvl6pPr marL="2521088" indent="-233299" algn="l" defTabSz="93319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41026" indent="-233299" algn="l" defTabSz="93319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360964" indent="-233299" algn="l" defTabSz="93319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780902" indent="-233299" algn="l" defTabSz="933196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4199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Daniel.dezso@railcargo.com" TargetMode="External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miklos.sebok@railcargo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2.jpe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19.jpeg"/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8.jpeg"/><Relationship Id="rId17" Type="http://schemas.openxmlformats.org/officeDocument/2006/relationships/image" Target="../media/image23.png"/><Relationship Id="rId2" Type="http://schemas.openxmlformats.org/officeDocument/2006/relationships/tags" Target="../tags/tag4.xml"/><Relationship Id="rId16" Type="http://schemas.openxmlformats.org/officeDocument/2006/relationships/image" Target="../media/image22.png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17.jpe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1.png"/><Relationship Id="rId10" Type="http://schemas.openxmlformats.org/officeDocument/2006/relationships/image" Target="../media/image16.jpeg"/><Relationship Id="rId4" Type="http://schemas.openxmlformats.org/officeDocument/2006/relationships/tags" Target="../tags/tag6.xml"/><Relationship Id="rId9" Type="http://schemas.openxmlformats.org/officeDocument/2006/relationships/image" Target="../media/image15.jpeg"/><Relationship Id="rId1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754" t="10754"/>
          <a:stretch/>
        </p:blipFill>
        <p:spPr>
          <a:xfrm>
            <a:off x="0" y="1296000"/>
            <a:ext cx="9907200" cy="512640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smtClean="0"/>
              <a:t>Rail Cargo Hungaria Zrt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Intermodal solutions in and across Hungary 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dirty="0" err="1" smtClean="0"/>
              <a:t>Ukraine</a:t>
            </a:r>
            <a:r>
              <a:rPr lang="hu-HU" dirty="0"/>
              <a:t>, </a:t>
            </a:r>
            <a:r>
              <a:rPr lang="hu-HU" dirty="0" err="1"/>
              <a:t>Odessa</a:t>
            </a:r>
            <a:r>
              <a:rPr lang="hu-HU" dirty="0"/>
              <a:t>, 01.06.2017</a:t>
            </a:r>
          </a:p>
          <a:p>
            <a:endParaRPr lang="de-DE" dirty="0"/>
          </a:p>
        </p:txBody>
      </p:sp>
      <p:grpSp>
        <p:nvGrpSpPr>
          <p:cNvPr id="9" name="Gruppierung 8"/>
          <p:cNvGrpSpPr/>
          <p:nvPr/>
        </p:nvGrpSpPr>
        <p:grpSpPr>
          <a:xfrm>
            <a:off x="0" y="1296000"/>
            <a:ext cx="9900000" cy="144000"/>
            <a:chOff x="0" y="1297450"/>
            <a:chExt cx="9900000" cy="144000"/>
          </a:xfrm>
        </p:grpSpPr>
        <p:pic>
          <p:nvPicPr>
            <p:cNvPr id="10" name="Picture 12"/>
            <p:cNvPicPr preferRelativeResize="0">
              <a:picLocks noChangeArrowheads="1"/>
            </p:cNvPicPr>
            <p:nvPr userDrawn="1"/>
          </p:nvPicPr>
          <p:blipFill rotWithShape="1">
            <a:blip r:embed="rId3"/>
            <a:srcRect/>
            <a:stretch/>
          </p:blipFill>
          <p:spPr bwMode="auto">
            <a:xfrm>
              <a:off x="0" y="1297450"/>
              <a:ext cx="9900000" cy="144000"/>
            </a:xfrm>
            <a:prstGeom prst="rect">
              <a:avLst/>
            </a:prstGeom>
            <a:gradFill flip="none" rotWithShape="1">
              <a:gsLst>
                <a:gs pos="80000">
                  <a:schemeClr val="bg1">
                    <a:alpha val="70000"/>
                  </a:schemeClr>
                </a:gs>
                <a:gs pos="0">
                  <a:srgbClr val="FFFFFF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  <a:extLst/>
          </p:spPr>
        </p:pic>
        <p:grpSp>
          <p:nvGrpSpPr>
            <p:cNvPr id="11" name="Gruppierung 10"/>
            <p:cNvGrpSpPr/>
            <p:nvPr userDrawn="1"/>
          </p:nvGrpSpPr>
          <p:grpSpPr>
            <a:xfrm>
              <a:off x="0" y="1297450"/>
              <a:ext cx="589698" cy="144000"/>
              <a:chOff x="719709" y="1297450"/>
              <a:chExt cx="589698" cy="144000"/>
            </a:xfrm>
          </p:grpSpPr>
          <p:sp>
            <p:nvSpPr>
              <p:cNvPr id="12" name="Rechteck 11"/>
              <p:cNvSpPr/>
              <p:nvPr userDrawn="1"/>
            </p:nvSpPr>
            <p:spPr bwMode="auto">
              <a:xfrm>
                <a:off x="719709" y="1297450"/>
                <a:ext cx="128464" cy="144000"/>
              </a:xfrm>
              <a:prstGeom prst="rect">
                <a:avLst/>
              </a:prstGeom>
              <a:solidFill>
                <a:srgbClr val="234B9E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  <a:cs typeface="ＭＳ Ｐゴシック" charset="-128"/>
                </a:endParaRPr>
              </a:p>
            </p:txBody>
          </p:sp>
          <p:sp>
            <p:nvSpPr>
              <p:cNvPr id="13" name="Parallelogramm 12"/>
              <p:cNvSpPr/>
              <p:nvPr userDrawn="1"/>
            </p:nvSpPr>
            <p:spPr bwMode="auto">
              <a:xfrm>
                <a:off x="776165" y="1297450"/>
                <a:ext cx="533242" cy="144000"/>
              </a:xfrm>
              <a:prstGeom prst="parallelogram">
                <a:avLst>
                  <a:gd name="adj" fmla="val 40972"/>
                </a:avLst>
              </a:prstGeom>
              <a:solidFill>
                <a:srgbClr val="234B9E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24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  <a:ea typeface="ＭＳ Ｐゴシック" charset="-128"/>
                    <a:cs typeface="ＭＳ Ｐゴシック" charset="-128"/>
                  </a:rPr>
                  <a:t> </a:t>
                </a:r>
                <a:endParaRPr kumimoji="0" lang="de-DE" sz="2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  <a:cs typeface="ＭＳ Ｐゴシック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929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4800" y="558000"/>
            <a:ext cx="5865812" cy="522288"/>
          </a:xfrm>
        </p:spPr>
        <p:txBody>
          <a:bodyPr/>
          <a:lstStyle/>
          <a:p>
            <a:r>
              <a:rPr lang="en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Traffic volume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according to segments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2016 (</a:t>
            </a:r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percentage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3B2CF7-272A-487E-A67D-10530ABE3489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de-DE" dirty="0">
              <a:solidFill>
                <a:srgbClr val="000000"/>
              </a:solidFill>
            </a:endParaRPr>
          </a:p>
        </p:txBody>
      </p:sp>
      <p:graphicFrame>
        <p:nvGraphicFramePr>
          <p:cNvPr id="11" name="Diagra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4551092"/>
              </p:ext>
            </p:extLst>
          </p:nvPr>
        </p:nvGraphicFramePr>
        <p:xfrm>
          <a:off x="1066803" y="1421830"/>
          <a:ext cx="8033654" cy="4703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9785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164" y="4153546"/>
            <a:ext cx="3562619" cy="2003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PGV Agreement 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3B2CF7-272A-487E-A67D-10530ABE3489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5" name="Szövegdoboz 4"/>
          <p:cNvSpPr txBox="1"/>
          <p:nvPr/>
        </p:nvSpPr>
        <p:spPr>
          <a:xfrm>
            <a:off x="462283" y="1627889"/>
            <a:ext cx="84345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800" dirty="0" smtClean="0"/>
              <a:t>The regulations of the new PGV valid as of 01/07/2017 and joining the multilateral PGV Agreement make it possible for RCH to be able to enter into contract with any wide-gauge rail transporter/operator on a normative basis.</a:t>
            </a:r>
          </a:p>
          <a:p>
            <a:pPr algn="just"/>
            <a:endParaRPr lang="hu-HU" sz="1800" dirty="0" smtClean="0"/>
          </a:p>
          <a:p>
            <a:pPr algn="just"/>
            <a:r>
              <a:rPr lang="en-US" sz="1800" dirty="0" smtClean="0"/>
              <a:t>RCH’s request to join submitted in February 2017 was accepted by the OJD Head Committee in its letter dated 20th February, and is valid as of 01/07/2017.</a:t>
            </a:r>
          </a:p>
          <a:p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106867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hu-HU" sz="1900" b="0" kern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Záhony-Port</a:t>
            </a:r>
            <a:r>
              <a:rPr lang="hu-HU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 Co.</a:t>
            </a:r>
            <a:endParaRPr lang="hu-HU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3B2CF7-272A-487E-A67D-10530ABE3489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74" t="13159" r="18255" b="12280"/>
          <a:stretch/>
        </p:blipFill>
        <p:spPr bwMode="auto">
          <a:xfrm>
            <a:off x="1491644" y="1356791"/>
            <a:ext cx="7278867" cy="49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zövegdoboz 3"/>
          <p:cNvSpPr txBox="1"/>
          <p:nvPr/>
        </p:nvSpPr>
        <p:spPr>
          <a:xfrm>
            <a:off x="526937" y="5966838"/>
            <a:ext cx="16118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 err="1" smtClean="0"/>
              <a:t>Source</a:t>
            </a:r>
            <a:r>
              <a:rPr lang="hu-HU" sz="1000" dirty="0" smtClean="0"/>
              <a:t>: </a:t>
            </a:r>
            <a:r>
              <a:rPr lang="hu-HU" sz="1000" dirty="0" err="1" smtClean="0"/>
              <a:t>Záhony-Port</a:t>
            </a:r>
            <a:r>
              <a:rPr lang="hu-HU" sz="1000" dirty="0" smtClean="0"/>
              <a:t> Co.</a:t>
            </a:r>
            <a:endParaRPr lang="hu-HU" sz="1000" dirty="0"/>
          </a:p>
        </p:txBody>
      </p:sp>
    </p:spTree>
    <p:extLst>
      <p:ext uri="{BB962C8B-B14F-4D97-AF65-F5344CB8AC3E}">
        <p14:creationId xmlns:p14="http://schemas.microsoft.com/office/powerpoint/2010/main" val="353360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Loading</a:t>
            </a:r>
            <a:r>
              <a:rPr lang="hu-HU" dirty="0" smtClean="0"/>
              <a:t> </a:t>
            </a:r>
            <a:r>
              <a:rPr lang="hu-HU" dirty="0" err="1" smtClean="0"/>
              <a:t>by</a:t>
            </a:r>
            <a:r>
              <a:rPr lang="hu-HU" dirty="0" smtClean="0"/>
              <a:t> </a:t>
            </a:r>
            <a:r>
              <a:rPr lang="hu-HU" dirty="0" err="1" smtClean="0"/>
              <a:t>crane</a:t>
            </a:r>
            <a:r>
              <a:rPr lang="hu-HU" dirty="0" smtClean="0"/>
              <a:t/>
            </a:r>
            <a:br>
              <a:rPr lang="hu-HU" dirty="0" smtClean="0"/>
            </a:b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3B2CF7-272A-487E-A67D-10530ABE3489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90" y="1627393"/>
            <a:ext cx="4218097" cy="3180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58" y="3451177"/>
            <a:ext cx="4041000" cy="302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églalap 3"/>
          <p:cNvSpPr/>
          <p:nvPr/>
        </p:nvSpPr>
        <p:spPr>
          <a:xfrm>
            <a:off x="4808060" y="1327519"/>
            <a:ext cx="4953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hu-HU" dirty="0"/>
              <a:t>4 </a:t>
            </a:r>
            <a:r>
              <a:rPr lang="hu-HU" dirty="0" err="1"/>
              <a:t>cranetracks</a:t>
            </a:r>
            <a:r>
              <a:rPr lang="hu-HU" dirty="0"/>
              <a:t>, 19 framecranes120 </a:t>
            </a:r>
            <a:r>
              <a:rPr lang="hu-HU" dirty="0" err="1"/>
              <a:t>tonsgoodsinonepiecewithonelift</a:t>
            </a:r>
            <a:endParaRPr lang="hu-HU" dirty="0"/>
          </a:p>
          <a:p>
            <a:r>
              <a:rPr lang="hu-HU" dirty="0" err="1"/>
              <a:t>Capacity</a:t>
            </a:r>
            <a:r>
              <a:rPr lang="hu-HU" dirty="0"/>
              <a:t>: 7000 </a:t>
            </a:r>
            <a:r>
              <a:rPr lang="hu-HU" dirty="0" err="1"/>
              <a:t>tons</a:t>
            </a:r>
            <a:r>
              <a:rPr lang="hu-HU" dirty="0"/>
              <a:t>/</a:t>
            </a:r>
            <a:r>
              <a:rPr lang="hu-HU" dirty="0" err="1"/>
              <a:t>day</a:t>
            </a:r>
            <a:r>
              <a:rPr lang="hu-HU" dirty="0"/>
              <a:t>, </a:t>
            </a:r>
          </a:p>
          <a:p>
            <a:r>
              <a:rPr lang="hu-HU" dirty="0" err="1"/>
              <a:t>Containerterminal</a:t>
            </a:r>
            <a:r>
              <a:rPr lang="hu-HU" dirty="0"/>
              <a:t>:</a:t>
            </a:r>
          </a:p>
          <a:p>
            <a:r>
              <a:rPr lang="hu-HU" dirty="0" err="1"/>
              <a:t>Transshipment</a:t>
            </a:r>
            <a:r>
              <a:rPr lang="hu-HU" dirty="0"/>
              <a:t>: 500 TEU/</a:t>
            </a:r>
            <a:r>
              <a:rPr lang="hu-HU" dirty="0" err="1"/>
              <a:t>day</a:t>
            </a:r>
            <a:endParaRPr lang="hu-HU" dirty="0"/>
          </a:p>
          <a:p>
            <a:r>
              <a:rPr lang="hu-HU" dirty="0" err="1"/>
              <a:t>Buffering</a:t>
            </a:r>
            <a:r>
              <a:rPr lang="hu-HU" dirty="0"/>
              <a:t>:1200 TEU</a:t>
            </a:r>
          </a:p>
        </p:txBody>
      </p:sp>
    </p:spTree>
    <p:extLst>
      <p:ext uri="{BB962C8B-B14F-4D97-AF65-F5344CB8AC3E}">
        <p14:creationId xmlns:p14="http://schemas.microsoft.com/office/powerpoint/2010/main" val="466100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3B2CF7-272A-487E-A67D-10530ABE3489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6" t="13815" r="18010" b="19079"/>
          <a:stretch/>
        </p:blipFill>
        <p:spPr bwMode="auto">
          <a:xfrm>
            <a:off x="1893865" y="1375143"/>
            <a:ext cx="7487763" cy="4591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ím 1"/>
          <p:cNvSpPr>
            <a:spLocks noGrp="1"/>
          </p:cNvSpPr>
          <p:nvPr>
            <p:ph type="title"/>
          </p:nvPr>
        </p:nvSpPr>
        <p:spPr>
          <a:xfrm>
            <a:off x="560388" y="504825"/>
            <a:ext cx="5865812" cy="5222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hu-HU" sz="1900" b="0" kern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Záhony-Port</a:t>
            </a:r>
            <a:r>
              <a:rPr lang="hu-HU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 Co.</a:t>
            </a:r>
            <a:endParaRPr lang="hu-HU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526937" y="5966838"/>
            <a:ext cx="16118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 err="1" smtClean="0"/>
              <a:t>Source</a:t>
            </a:r>
            <a:r>
              <a:rPr lang="hu-HU" sz="1000" dirty="0" smtClean="0"/>
              <a:t>: </a:t>
            </a:r>
            <a:r>
              <a:rPr lang="hu-HU" sz="1000" dirty="0" err="1" smtClean="0"/>
              <a:t>Záhony-Port</a:t>
            </a:r>
            <a:r>
              <a:rPr lang="hu-HU" sz="1000" dirty="0" smtClean="0"/>
              <a:t> Co.</a:t>
            </a:r>
            <a:endParaRPr lang="hu-HU" sz="1000" dirty="0"/>
          </a:p>
        </p:txBody>
      </p:sp>
    </p:spTree>
    <p:extLst>
      <p:ext uri="{BB962C8B-B14F-4D97-AF65-F5344CB8AC3E}">
        <p14:creationId xmlns:p14="http://schemas.microsoft.com/office/powerpoint/2010/main" val="1429766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3B2CF7-272A-487E-A67D-10530ABE3489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560388" y="504825"/>
            <a:ext cx="5865812" cy="5222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hu-HU" sz="1900" b="0" kern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Záhony-Port</a:t>
            </a:r>
            <a:r>
              <a:rPr lang="hu-HU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 Co.</a:t>
            </a:r>
            <a:endParaRPr lang="hu-HU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8" t="13378" r="18756" b="18421"/>
          <a:stretch/>
        </p:blipFill>
        <p:spPr bwMode="auto">
          <a:xfrm>
            <a:off x="1738554" y="1411706"/>
            <a:ext cx="7699898" cy="4828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zövegdoboz 5"/>
          <p:cNvSpPr txBox="1"/>
          <p:nvPr/>
        </p:nvSpPr>
        <p:spPr>
          <a:xfrm>
            <a:off x="526937" y="5966838"/>
            <a:ext cx="16118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 err="1" smtClean="0"/>
              <a:t>Source</a:t>
            </a:r>
            <a:r>
              <a:rPr lang="hu-HU" sz="1000" dirty="0" smtClean="0"/>
              <a:t>: </a:t>
            </a:r>
            <a:r>
              <a:rPr lang="hu-HU" sz="1000" dirty="0" err="1" smtClean="0"/>
              <a:t>Záhony-Port</a:t>
            </a:r>
            <a:r>
              <a:rPr lang="hu-HU" sz="1000" dirty="0" smtClean="0"/>
              <a:t> Co.</a:t>
            </a:r>
            <a:endParaRPr lang="hu-HU" sz="1000" dirty="0"/>
          </a:p>
        </p:txBody>
      </p:sp>
    </p:spTree>
    <p:extLst>
      <p:ext uri="{BB962C8B-B14F-4D97-AF65-F5344CB8AC3E}">
        <p14:creationId xmlns:p14="http://schemas.microsoft.com/office/powerpoint/2010/main" val="1666327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9" name="Bildplatzhalter 10"/>
          <p:cNvPicPr>
            <a:picLocks noGrp="1" noChangeAspect="1"/>
          </p:cNvPicPr>
          <p:nvPr>
            <p:ph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774" y="1968284"/>
            <a:ext cx="9675692" cy="3673785"/>
          </a:xfr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Rail Cargo </a:t>
            </a:r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Terminal-BILK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Ltd.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736F4303-2A52-4192-836D-2D5C0FE463E1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19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Kép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87212"/>
            <a:ext cx="9906000" cy="5057775"/>
          </a:xfrm>
          <a:prstGeom prst="rect">
            <a:avLst/>
          </a:prstGeom>
        </p:spPr>
      </p:pic>
      <p:sp>
        <p:nvSpPr>
          <p:cNvPr id="6" name="Dia számának helye 5"/>
          <p:cNvSpPr>
            <a:spLocks noGrp="1"/>
          </p:cNvSpPr>
          <p:nvPr>
            <p:ph type="sldNum" sz="quarter" idx="16"/>
          </p:nvPr>
        </p:nvSpPr>
        <p:spPr>
          <a:xfrm>
            <a:off x="9065082" y="6439622"/>
            <a:ext cx="388938" cy="263525"/>
          </a:xfrm>
        </p:spPr>
        <p:txBody>
          <a:bodyPr/>
          <a:lstStyle/>
          <a:p>
            <a:pPr>
              <a:defRPr/>
            </a:pPr>
            <a:fld id="{736F4303-2A52-4192-836D-2D5C0FE463E1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sp>
        <p:nvSpPr>
          <p:cNvPr id="11" name="Szövegdoboz 7"/>
          <p:cNvSpPr txBox="1">
            <a:spLocks noChangeArrowheads="1"/>
          </p:cNvSpPr>
          <p:nvPr/>
        </p:nvSpPr>
        <p:spPr bwMode="auto">
          <a:xfrm>
            <a:off x="3232151" y="2083006"/>
            <a:ext cx="11223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HAMBURG</a:t>
            </a:r>
          </a:p>
        </p:txBody>
      </p:sp>
      <p:sp>
        <p:nvSpPr>
          <p:cNvPr id="12" name="Szövegdoboz 8"/>
          <p:cNvSpPr txBox="1">
            <a:spLocks noChangeArrowheads="1"/>
          </p:cNvSpPr>
          <p:nvPr/>
        </p:nvSpPr>
        <p:spPr bwMode="auto">
          <a:xfrm>
            <a:off x="3074988" y="4618244"/>
            <a:ext cx="942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TRIESTE</a:t>
            </a:r>
          </a:p>
        </p:txBody>
      </p:sp>
      <p:sp>
        <p:nvSpPr>
          <p:cNvPr id="13" name="Szövegdoboz 9"/>
          <p:cNvSpPr txBox="1">
            <a:spLocks noChangeArrowheads="1"/>
          </p:cNvSpPr>
          <p:nvPr/>
        </p:nvSpPr>
        <p:spPr bwMode="auto">
          <a:xfrm>
            <a:off x="3014663" y="4975431"/>
            <a:ext cx="82391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KOPER</a:t>
            </a:r>
          </a:p>
        </p:txBody>
      </p:sp>
      <p:sp>
        <p:nvSpPr>
          <p:cNvPr id="14" name="Szövegdoboz 10"/>
          <p:cNvSpPr txBox="1">
            <a:spLocks noChangeArrowheads="1"/>
          </p:cNvSpPr>
          <p:nvPr/>
        </p:nvSpPr>
        <p:spPr bwMode="auto">
          <a:xfrm>
            <a:off x="3652838" y="5221494"/>
            <a:ext cx="8445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RIJEKA</a:t>
            </a:r>
          </a:p>
        </p:txBody>
      </p:sp>
      <p:sp>
        <p:nvSpPr>
          <p:cNvPr id="15" name="Szabadkézi sokszög 14"/>
          <p:cNvSpPr/>
          <p:nvPr/>
        </p:nvSpPr>
        <p:spPr bwMode="auto">
          <a:xfrm>
            <a:off x="3546476" y="2398919"/>
            <a:ext cx="1839912" cy="2043112"/>
          </a:xfrm>
          <a:custGeom>
            <a:avLst/>
            <a:gdLst>
              <a:gd name="connsiteX0" fmla="*/ 1840675 w 1840675"/>
              <a:gd name="connsiteY0" fmla="*/ 2042556 h 2043404"/>
              <a:gd name="connsiteX1" fmla="*/ 486888 w 1840675"/>
              <a:gd name="connsiteY1" fmla="*/ 1710047 h 2043404"/>
              <a:gd name="connsiteX2" fmla="*/ 0 w 1840675"/>
              <a:gd name="connsiteY2" fmla="*/ 0 h 2043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40675" h="2043404">
                <a:moveTo>
                  <a:pt x="1840675" y="2042556"/>
                </a:moveTo>
                <a:cubicBezTo>
                  <a:pt x="1317171" y="2046514"/>
                  <a:pt x="793667" y="2050473"/>
                  <a:pt x="486888" y="1710047"/>
                </a:cubicBezTo>
                <a:cubicBezTo>
                  <a:pt x="180109" y="1369621"/>
                  <a:pt x="209797" y="154379"/>
                  <a:pt x="0" y="0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hu-HU" sz="2400">
              <a:ln>
                <a:solidFill>
                  <a:srgbClr val="000000"/>
                </a:solidFill>
                <a:prstDash val="sysDash"/>
              </a:ln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" name="Szabadkézi sokszög 12"/>
          <p:cNvSpPr>
            <a:spLocks/>
          </p:cNvSpPr>
          <p:nvPr/>
        </p:nvSpPr>
        <p:spPr bwMode="auto">
          <a:xfrm>
            <a:off x="4376738" y="4489656"/>
            <a:ext cx="1093788" cy="723900"/>
          </a:xfrm>
          <a:custGeom>
            <a:avLst/>
            <a:gdLst>
              <a:gd name="T0" fmla="*/ 1097570 w 1092530"/>
              <a:gd name="T1" fmla="*/ 0 h 724394"/>
              <a:gd name="T2" fmla="*/ 0 w 1092530"/>
              <a:gd name="T3" fmla="*/ 722420 h 724394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1092530" h="724394">
                <a:moveTo>
                  <a:pt x="1092530" y="0"/>
                </a:moveTo>
                <a:cubicBezTo>
                  <a:pt x="608610" y="314696"/>
                  <a:pt x="124691" y="629392"/>
                  <a:pt x="0" y="724394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zabadkézi sokszög 13"/>
          <p:cNvSpPr>
            <a:spLocks/>
          </p:cNvSpPr>
          <p:nvPr/>
        </p:nvSpPr>
        <p:spPr bwMode="auto">
          <a:xfrm>
            <a:off x="3984626" y="4489656"/>
            <a:ext cx="1377950" cy="409575"/>
          </a:xfrm>
          <a:custGeom>
            <a:avLst/>
            <a:gdLst>
              <a:gd name="T0" fmla="*/ 1379186 w 1377538"/>
              <a:gd name="T1" fmla="*/ 0 h 410095"/>
              <a:gd name="T2" fmla="*/ 582587 w 1377538"/>
              <a:gd name="T3" fmla="*/ 378086 h 410095"/>
              <a:gd name="T4" fmla="*/ 0 w 1377538"/>
              <a:gd name="T5" fmla="*/ 354455 h 41009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77538" h="410095">
                <a:moveTo>
                  <a:pt x="1377538" y="0"/>
                </a:moveTo>
                <a:cubicBezTo>
                  <a:pt x="1094509" y="160317"/>
                  <a:pt x="811481" y="320634"/>
                  <a:pt x="581891" y="380010"/>
                </a:cubicBezTo>
                <a:cubicBezTo>
                  <a:pt x="352301" y="439387"/>
                  <a:pt x="213756" y="399802"/>
                  <a:pt x="0" y="356259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zabadkézi sokszög 14"/>
          <p:cNvSpPr>
            <a:spLocks/>
          </p:cNvSpPr>
          <p:nvPr/>
        </p:nvSpPr>
        <p:spPr bwMode="auto">
          <a:xfrm>
            <a:off x="4092576" y="4892881"/>
            <a:ext cx="463550" cy="190500"/>
          </a:xfrm>
          <a:custGeom>
            <a:avLst/>
            <a:gdLst>
              <a:gd name="T0" fmla="*/ 464788 w 463138"/>
              <a:gd name="T1" fmla="*/ 0 h 190005"/>
              <a:gd name="T2" fmla="*/ 0 w 463138"/>
              <a:gd name="T3" fmla="*/ 191993 h 190005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463138" h="190005">
                <a:moveTo>
                  <a:pt x="463138" y="0"/>
                </a:moveTo>
                <a:cubicBezTo>
                  <a:pt x="317665" y="89065"/>
                  <a:pt x="172192" y="178130"/>
                  <a:pt x="0" y="190005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Szövegdoboz 15"/>
          <p:cNvSpPr txBox="1">
            <a:spLocks noChangeArrowheads="1"/>
          </p:cNvSpPr>
          <p:nvPr/>
        </p:nvSpPr>
        <p:spPr bwMode="auto">
          <a:xfrm>
            <a:off x="1724026" y="1814719"/>
            <a:ext cx="158115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BREMERHAVEN</a:t>
            </a:r>
          </a:p>
        </p:txBody>
      </p:sp>
      <p:sp>
        <p:nvSpPr>
          <p:cNvPr id="20" name="Szabadkézi sokszög 17"/>
          <p:cNvSpPr>
            <a:spLocks/>
          </p:cNvSpPr>
          <p:nvPr/>
        </p:nvSpPr>
        <p:spPr bwMode="auto">
          <a:xfrm>
            <a:off x="3082926" y="2256044"/>
            <a:ext cx="925512" cy="1841500"/>
          </a:xfrm>
          <a:custGeom>
            <a:avLst/>
            <a:gdLst>
              <a:gd name="T0" fmla="*/ 923224 w 926276"/>
              <a:gd name="T1" fmla="*/ 1843977 h 1840675"/>
              <a:gd name="T2" fmla="*/ 0 w 926276"/>
              <a:gd name="T3" fmla="*/ 0 h 1840675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926276" h="1840675">
                <a:moveTo>
                  <a:pt x="926276" y="1840675"/>
                </a:moveTo>
                <a:cubicBezTo>
                  <a:pt x="507670" y="946067"/>
                  <a:pt x="89065" y="51460"/>
                  <a:pt x="0" y="0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Szövegdoboz 18"/>
          <p:cNvSpPr txBox="1">
            <a:spLocks noChangeArrowheads="1"/>
          </p:cNvSpPr>
          <p:nvPr/>
        </p:nvSpPr>
        <p:spPr bwMode="auto">
          <a:xfrm>
            <a:off x="952501" y="2238581"/>
            <a:ext cx="132080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ROTTERDAM</a:t>
            </a:r>
          </a:p>
        </p:txBody>
      </p:sp>
      <p:sp>
        <p:nvSpPr>
          <p:cNvPr id="22" name="Szabadkézi sokszög 19"/>
          <p:cNvSpPr>
            <a:spLocks/>
          </p:cNvSpPr>
          <p:nvPr/>
        </p:nvSpPr>
        <p:spPr bwMode="auto">
          <a:xfrm>
            <a:off x="2430463" y="2541794"/>
            <a:ext cx="2955925" cy="1868487"/>
          </a:xfrm>
          <a:custGeom>
            <a:avLst/>
            <a:gdLst>
              <a:gd name="T0" fmla="*/ 2952837 w 2956955"/>
              <a:gd name="T1" fmla="*/ 1840984 h 1868409"/>
              <a:gd name="T2" fmla="*/ 2039711 w 2956955"/>
              <a:gd name="T3" fmla="*/ 1615312 h 1868409"/>
              <a:gd name="T4" fmla="*/ 0 w 2956955"/>
              <a:gd name="T5" fmla="*/ 0 h 1868409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956955" h="1868409">
                <a:moveTo>
                  <a:pt x="2956955" y="1840676"/>
                </a:moveTo>
                <a:cubicBezTo>
                  <a:pt x="2746168" y="1881249"/>
                  <a:pt x="2535381" y="1921823"/>
                  <a:pt x="2042555" y="1615044"/>
                </a:cubicBezTo>
                <a:cubicBezTo>
                  <a:pt x="1549729" y="1308265"/>
                  <a:pt x="164275" y="47501"/>
                  <a:pt x="0" y="0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3" name="Szabadkézi sokszög 20"/>
          <p:cNvSpPr>
            <a:spLocks/>
          </p:cNvSpPr>
          <p:nvPr/>
        </p:nvSpPr>
        <p:spPr bwMode="auto">
          <a:xfrm>
            <a:off x="5505451" y="4476956"/>
            <a:ext cx="582612" cy="447675"/>
          </a:xfrm>
          <a:custGeom>
            <a:avLst/>
            <a:gdLst>
              <a:gd name="T0" fmla="*/ 0 w 581891"/>
              <a:gd name="T1" fmla="*/ 0 h 447454"/>
              <a:gd name="T2" fmla="*/ 584781 w 581891"/>
              <a:gd name="T3" fmla="*/ 428356 h 447454"/>
              <a:gd name="T4" fmla="*/ 0 60000 65536"/>
              <a:gd name="T5" fmla="*/ 0 60000 655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0" t="0" r="r" b="b"/>
            <a:pathLst>
              <a:path w="581891" h="447454">
                <a:moveTo>
                  <a:pt x="0" y="0"/>
                </a:moveTo>
                <a:cubicBezTo>
                  <a:pt x="228600" y="261257"/>
                  <a:pt x="457200" y="522515"/>
                  <a:pt x="581891" y="427512"/>
                </a:cubicBezTo>
              </a:path>
            </a:pathLst>
          </a:custGeom>
          <a:noFill/>
          <a:ln w="381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zövegdoboz 23"/>
          <p:cNvSpPr txBox="1">
            <a:spLocks noChangeArrowheads="1"/>
          </p:cNvSpPr>
          <p:nvPr/>
        </p:nvSpPr>
        <p:spPr bwMode="auto">
          <a:xfrm>
            <a:off x="5653088" y="4915106"/>
            <a:ext cx="6719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200" b="1" dirty="0" err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Curtici</a:t>
            </a:r>
            <a:endParaRPr lang="hu-HU" altLang="hu-HU" sz="1200" b="1" dirty="0">
              <a:solidFill>
                <a:srgbClr val="C00000"/>
              </a:solidFill>
              <a:latin typeface="Arial" panose="020B0604020202020204" pitchFamily="34" charset="0"/>
              <a:ea typeface="Geneva" pitchFamily="34" charset="0"/>
              <a:cs typeface="Geneva" pitchFamily="34" charset="0"/>
            </a:endParaRPr>
          </a:p>
        </p:txBody>
      </p:sp>
      <p:cxnSp>
        <p:nvCxnSpPr>
          <p:cNvPr id="25" name="Egyenes összekötő 25"/>
          <p:cNvCxnSpPr>
            <a:cxnSpLocks noChangeShapeType="1"/>
            <a:stCxn id="23" idx="1"/>
          </p:cNvCxnSpPr>
          <p:nvPr/>
        </p:nvCxnSpPr>
        <p:spPr bwMode="auto">
          <a:xfrm>
            <a:off x="6088063" y="4903994"/>
            <a:ext cx="1020763" cy="377825"/>
          </a:xfrm>
          <a:prstGeom prst="line">
            <a:avLst/>
          </a:prstGeom>
          <a:noFill/>
          <a:ln w="38100" algn="ctr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Egyenes összekötő 28"/>
          <p:cNvCxnSpPr>
            <a:cxnSpLocks noChangeShapeType="1"/>
          </p:cNvCxnSpPr>
          <p:nvPr/>
        </p:nvCxnSpPr>
        <p:spPr bwMode="auto">
          <a:xfrm>
            <a:off x="7108826" y="5281819"/>
            <a:ext cx="457200" cy="0"/>
          </a:xfrm>
          <a:prstGeom prst="line">
            <a:avLst/>
          </a:prstGeom>
          <a:noFill/>
          <a:ln w="38100" algn="ctr">
            <a:solidFill>
              <a:srgbClr val="00B05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Szövegdoboz 37"/>
          <p:cNvSpPr txBox="1">
            <a:spLocks noChangeArrowheads="1"/>
          </p:cNvSpPr>
          <p:nvPr/>
        </p:nvSpPr>
        <p:spPr bwMode="auto">
          <a:xfrm>
            <a:off x="6762969" y="4798894"/>
            <a:ext cx="6832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800" b="1" dirty="0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PLOJESTI</a:t>
            </a:r>
          </a:p>
        </p:txBody>
      </p:sp>
      <p:sp>
        <p:nvSpPr>
          <p:cNvPr id="28" name="Szövegdoboz 38"/>
          <p:cNvSpPr txBox="1">
            <a:spLocks noChangeArrowheads="1"/>
          </p:cNvSpPr>
          <p:nvPr/>
        </p:nvSpPr>
        <p:spPr bwMode="auto">
          <a:xfrm>
            <a:off x="7672388" y="5086556"/>
            <a:ext cx="12858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4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CONSTANTA</a:t>
            </a:r>
          </a:p>
        </p:txBody>
      </p:sp>
      <p:cxnSp>
        <p:nvCxnSpPr>
          <p:cNvPr id="29" name="Egyenes összekötő 20487"/>
          <p:cNvCxnSpPr>
            <a:cxnSpLocks noChangeShapeType="1"/>
            <a:stCxn id="20" idx="0"/>
          </p:cNvCxnSpPr>
          <p:nvPr/>
        </p:nvCxnSpPr>
        <p:spPr bwMode="auto">
          <a:xfrm flipH="1" flipV="1">
            <a:off x="2749551" y="3051381"/>
            <a:ext cx="1258887" cy="1046163"/>
          </a:xfrm>
          <a:prstGeom prst="line">
            <a:avLst/>
          </a:prstGeom>
          <a:noFill/>
          <a:ln w="38100" algn="ctr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Szövegdoboz 45"/>
          <p:cNvSpPr txBox="1">
            <a:spLocks noChangeArrowheads="1"/>
          </p:cNvSpPr>
          <p:nvPr/>
        </p:nvSpPr>
        <p:spPr bwMode="auto">
          <a:xfrm>
            <a:off x="2201863" y="2919619"/>
            <a:ext cx="6254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0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NEUSS</a:t>
            </a:r>
          </a:p>
        </p:txBody>
      </p:sp>
      <p:cxnSp>
        <p:nvCxnSpPr>
          <p:cNvPr id="31" name="Egyenes összekötő 20492"/>
          <p:cNvCxnSpPr>
            <a:cxnSpLocks noChangeShapeType="1"/>
            <a:stCxn id="15" idx="1"/>
          </p:cNvCxnSpPr>
          <p:nvPr/>
        </p:nvCxnSpPr>
        <p:spPr bwMode="auto">
          <a:xfrm flipH="1" flipV="1">
            <a:off x="3652838" y="4097544"/>
            <a:ext cx="379413" cy="11112"/>
          </a:xfrm>
          <a:prstGeom prst="line">
            <a:avLst/>
          </a:prstGeom>
          <a:noFill/>
          <a:ln w="38100" algn="ctr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Szövegdoboz 49"/>
          <p:cNvSpPr txBox="1">
            <a:spLocks noChangeArrowheads="1"/>
          </p:cNvSpPr>
          <p:nvPr/>
        </p:nvSpPr>
        <p:spPr bwMode="auto">
          <a:xfrm>
            <a:off x="2901951" y="3986419"/>
            <a:ext cx="8429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0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MÜNCHEN</a:t>
            </a:r>
          </a:p>
        </p:txBody>
      </p:sp>
      <p:pic>
        <p:nvPicPr>
          <p:cNvPr id="33" name="Kép 3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7813" y="3884819"/>
            <a:ext cx="701675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Szövegdoboz 45"/>
          <p:cNvSpPr txBox="1">
            <a:spLocks noChangeArrowheads="1"/>
          </p:cNvSpPr>
          <p:nvPr/>
        </p:nvSpPr>
        <p:spPr bwMode="auto">
          <a:xfrm>
            <a:off x="2701926" y="2541794"/>
            <a:ext cx="7461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0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Duisburg</a:t>
            </a:r>
          </a:p>
        </p:txBody>
      </p:sp>
      <p:pic>
        <p:nvPicPr>
          <p:cNvPr id="36" name="Kép 3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6626" y="4364244"/>
            <a:ext cx="701675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Szövegdoboz 45"/>
          <p:cNvSpPr txBox="1">
            <a:spLocks noChangeArrowheads="1"/>
          </p:cNvSpPr>
          <p:nvPr/>
        </p:nvSpPr>
        <p:spPr bwMode="auto">
          <a:xfrm>
            <a:off x="3667126" y="4129294"/>
            <a:ext cx="48260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8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WELS</a:t>
            </a:r>
          </a:p>
        </p:txBody>
      </p:sp>
      <p:cxnSp>
        <p:nvCxnSpPr>
          <p:cNvPr id="39" name="Egyenes összekötő 5"/>
          <p:cNvCxnSpPr>
            <a:cxnSpLocks noChangeShapeType="1"/>
          </p:cNvCxnSpPr>
          <p:nvPr/>
        </p:nvCxnSpPr>
        <p:spPr bwMode="auto">
          <a:xfrm flipH="1">
            <a:off x="3908426" y="4534106"/>
            <a:ext cx="1241425" cy="0"/>
          </a:xfrm>
          <a:prstGeom prst="line">
            <a:avLst/>
          </a:prstGeom>
          <a:noFill/>
          <a:ln w="38100" algn="ctr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0" name="Szövegdoboz 38"/>
          <p:cNvSpPr txBox="1">
            <a:spLocks noChangeArrowheads="1"/>
          </p:cNvSpPr>
          <p:nvPr/>
        </p:nvSpPr>
        <p:spPr bwMode="auto">
          <a:xfrm>
            <a:off x="8080376" y="4116594"/>
            <a:ext cx="12065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2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CHERTOMLIK</a:t>
            </a:r>
          </a:p>
        </p:txBody>
      </p:sp>
      <p:sp>
        <p:nvSpPr>
          <p:cNvPr id="41" name="Szövegdoboz 45"/>
          <p:cNvSpPr txBox="1">
            <a:spLocks noChangeArrowheads="1"/>
          </p:cNvSpPr>
          <p:nvPr/>
        </p:nvSpPr>
        <p:spPr bwMode="auto">
          <a:xfrm>
            <a:off x="4198938" y="4651581"/>
            <a:ext cx="7143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7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LJUBLJANA</a:t>
            </a:r>
          </a:p>
        </p:txBody>
      </p:sp>
      <p:sp>
        <p:nvSpPr>
          <p:cNvPr id="42" name="Szövegdoboz 45"/>
          <p:cNvSpPr txBox="1">
            <a:spLocks noChangeArrowheads="1"/>
          </p:cNvSpPr>
          <p:nvPr/>
        </p:nvSpPr>
        <p:spPr bwMode="auto">
          <a:xfrm>
            <a:off x="3116263" y="4403931"/>
            <a:ext cx="754063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8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SALZBURG</a:t>
            </a:r>
          </a:p>
        </p:txBody>
      </p:sp>
      <p:sp>
        <p:nvSpPr>
          <p:cNvPr id="43" name="Szövegdoboz 45"/>
          <p:cNvSpPr txBox="1">
            <a:spLocks noChangeArrowheads="1"/>
          </p:cNvSpPr>
          <p:nvPr/>
        </p:nvSpPr>
        <p:spPr bwMode="auto">
          <a:xfrm>
            <a:off x="4313238" y="3873706"/>
            <a:ext cx="4524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8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WIEN</a:t>
            </a:r>
          </a:p>
        </p:txBody>
      </p:sp>
      <p:sp>
        <p:nvSpPr>
          <p:cNvPr id="44" name="Szövegdoboz 45"/>
          <p:cNvSpPr txBox="1">
            <a:spLocks noChangeArrowheads="1"/>
          </p:cNvSpPr>
          <p:nvPr/>
        </p:nvSpPr>
        <p:spPr bwMode="auto">
          <a:xfrm>
            <a:off x="3981451" y="3665744"/>
            <a:ext cx="382587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700" b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LINZ</a:t>
            </a:r>
          </a:p>
        </p:txBody>
      </p:sp>
      <p:sp>
        <p:nvSpPr>
          <p:cNvPr id="45" name="Szabadkézi sokszög 7"/>
          <p:cNvSpPr>
            <a:spLocks/>
          </p:cNvSpPr>
          <p:nvPr/>
        </p:nvSpPr>
        <p:spPr bwMode="auto">
          <a:xfrm>
            <a:off x="6059488" y="3862594"/>
            <a:ext cx="2711450" cy="373062"/>
          </a:xfrm>
          <a:custGeom>
            <a:avLst/>
            <a:gdLst>
              <a:gd name="T0" fmla="*/ 0 w 2624447"/>
              <a:gd name="T1" fmla="*/ 471188 h 345528"/>
              <a:gd name="T2" fmla="*/ 1353132 w 2624447"/>
              <a:gd name="T3" fmla="*/ 1560 h 345528"/>
              <a:gd name="T4" fmla="*/ 2990422 w 2624447"/>
              <a:gd name="T5" fmla="*/ 309247 h 34552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24447" h="345528">
                <a:moveTo>
                  <a:pt x="0" y="345528"/>
                </a:moveTo>
                <a:cubicBezTo>
                  <a:pt x="375062" y="183232"/>
                  <a:pt x="750124" y="20936"/>
                  <a:pt x="1187532" y="1144"/>
                </a:cubicBezTo>
                <a:cubicBezTo>
                  <a:pt x="1624940" y="-18648"/>
                  <a:pt x="2462151" y="224796"/>
                  <a:pt x="2624447" y="226775"/>
                </a:cubicBezTo>
              </a:path>
            </a:pathLst>
          </a:custGeom>
          <a:noFill/>
          <a:ln w="3810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hu-HU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6" name="Kép 4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4363" y="4292806"/>
            <a:ext cx="47942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7" name="Egyenes összekötő 46"/>
          <p:cNvCxnSpPr/>
          <p:nvPr/>
        </p:nvCxnSpPr>
        <p:spPr bwMode="auto">
          <a:xfrm flipH="1" flipV="1">
            <a:off x="5487989" y="4497593"/>
            <a:ext cx="120649" cy="585788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48" name="Kép 4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32401" y="4497594"/>
            <a:ext cx="460875" cy="267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Kép 4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0001" y="4775719"/>
            <a:ext cx="376237" cy="21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Szövegdoboz 23"/>
          <p:cNvSpPr txBox="1">
            <a:spLocks noChangeArrowheads="1"/>
          </p:cNvSpPr>
          <p:nvPr/>
        </p:nvSpPr>
        <p:spPr bwMode="auto">
          <a:xfrm>
            <a:off x="5071817" y="5265709"/>
            <a:ext cx="58221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000" b="1" dirty="0" smtClean="0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Surcin</a:t>
            </a:r>
            <a:endParaRPr lang="hu-HU" altLang="hu-HU" sz="1000" b="1" dirty="0">
              <a:solidFill>
                <a:srgbClr val="C00000"/>
              </a:solidFill>
              <a:latin typeface="Arial" panose="020B0604020202020204" pitchFamily="34" charset="0"/>
              <a:ea typeface="Geneva" pitchFamily="34" charset="0"/>
              <a:cs typeface="Geneva" pitchFamily="34" charset="0"/>
            </a:endParaRPr>
          </a:p>
        </p:txBody>
      </p:sp>
      <p:cxnSp>
        <p:nvCxnSpPr>
          <p:cNvPr id="51" name="Egyenes összekötő 50"/>
          <p:cNvCxnSpPr/>
          <p:nvPr/>
        </p:nvCxnSpPr>
        <p:spPr bwMode="auto">
          <a:xfrm flipH="1" flipV="1">
            <a:off x="5692776" y="5508017"/>
            <a:ext cx="395287" cy="688829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53" name="Kép 5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4807" y="4798894"/>
            <a:ext cx="376237" cy="21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Szövegdoboz 23"/>
          <p:cNvSpPr txBox="1">
            <a:spLocks noChangeArrowheads="1"/>
          </p:cNvSpPr>
          <p:nvPr/>
        </p:nvSpPr>
        <p:spPr bwMode="auto">
          <a:xfrm>
            <a:off x="6232799" y="6093587"/>
            <a:ext cx="57419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1000" b="1" dirty="0" err="1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Pireus</a:t>
            </a:r>
            <a:endParaRPr lang="hu-HU" altLang="hu-HU" sz="1000" b="1" dirty="0">
              <a:solidFill>
                <a:srgbClr val="C00000"/>
              </a:solidFill>
              <a:latin typeface="Arial" panose="020B0604020202020204" pitchFamily="34" charset="0"/>
              <a:ea typeface="Geneva" pitchFamily="34" charset="0"/>
              <a:cs typeface="Geneva" pitchFamily="34" charset="0"/>
            </a:endParaRPr>
          </a:p>
        </p:txBody>
      </p:sp>
      <p:cxnSp>
        <p:nvCxnSpPr>
          <p:cNvPr id="55" name="Egyenes összekötő 25"/>
          <p:cNvCxnSpPr>
            <a:cxnSpLocks noChangeShapeType="1"/>
          </p:cNvCxnSpPr>
          <p:nvPr/>
        </p:nvCxnSpPr>
        <p:spPr bwMode="auto">
          <a:xfrm flipH="1">
            <a:off x="7104569" y="5345319"/>
            <a:ext cx="1" cy="604838"/>
          </a:xfrm>
          <a:prstGeom prst="line">
            <a:avLst/>
          </a:prstGeom>
          <a:noFill/>
          <a:ln w="38100" algn="ctr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Egyenes összekötő 25"/>
          <p:cNvCxnSpPr>
            <a:cxnSpLocks noChangeShapeType="1"/>
          </p:cNvCxnSpPr>
          <p:nvPr/>
        </p:nvCxnSpPr>
        <p:spPr bwMode="auto">
          <a:xfrm>
            <a:off x="7104569" y="6011839"/>
            <a:ext cx="461457" cy="129654"/>
          </a:xfrm>
          <a:prstGeom prst="line">
            <a:avLst/>
          </a:prstGeom>
          <a:noFill/>
          <a:ln w="38100" algn="ctr">
            <a:solidFill>
              <a:schemeClr val="tx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Szövegdoboz 37"/>
          <p:cNvSpPr txBox="1">
            <a:spLocks noChangeArrowheads="1"/>
          </p:cNvSpPr>
          <p:nvPr/>
        </p:nvSpPr>
        <p:spPr bwMode="auto">
          <a:xfrm>
            <a:off x="6930873" y="6089124"/>
            <a:ext cx="63350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altLang="hu-HU" sz="800" b="1" dirty="0">
                <a:solidFill>
                  <a:srgbClr val="C00000"/>
                </a:solidFill>
                <a:latin typeface="Arial" panose="020B0604020202020204" pitchFamily="34" charset="0"/>
                <a:ea typeface="Geneva" pitchFamily="34" charset="0"/>
                <a:cs typeface="Geneva" pitchFamily="34" charset="0"/>
              </a:rPr>
              <a:t>HALKALI</a:t>
            </a:r>
          </a:p>
        </p:txBody>
      </p:sp>
      <p:pic>
        <p:nvPicPr>
          <p:cNvPr id="57" name="Kép 5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3667" y="4586519"/>
            <a:ext cx="376237" cy="21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Rail network</a:t>
            </a:r>
            <a:endParaRPr lang="en-US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845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05128E-6 -4.81481E-6 L -0.07179 0.0164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90" y="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0"/>
                            </p:stCondLst>
                            <p:childTnLst>
                              <p:par>
                                <p:cTn id="8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7179 0.01644 L -0.19407 -0.06574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22" y="-4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0"/>
                            </p:stCondLst>
                            <p:childTnLst>
                              <p:par>
                                <p:cTn id="11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19407 -0.06574 L -0.22404 -0.2412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6" y="-877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0"/>
                            </p:stCondLst>
                            <p:childTnLst>
                              <p:par>
                                <p:cTn id="14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05128E-6 -4.81481E-6 L -0.15224 0.13218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12" y="659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30769E-6 -1.48148E-6 L 0.04792 0.02685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88" y="13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0"/>
                            </p:stCondLst>
                            <p:childTnLst>
                              <p:par>
                                <p:cTn id="20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4792 0.02685 L 0.15802 0.075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97" y="24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0"/>
                            </p:stCondLst>
                            <p:childTnLst>
                              <p:par>
                                <p:cTn id="23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53846E-6 -2.22222E-6 L -0.20737 -0.02685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369" y="-13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00"/>
                            </p:stCondLst>
                            <p:childTnLst>
                              <p:par>
                                <p:cTn id="26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20737 -0.02685 L -0.39567 -0.26991 " pathEditMode="relative" rAng="0" ptsTypes="AA">
                                      <p:cBhvr>
                                        <p:cTn id="27" dur="4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23" y="-121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2000"/>
                            </p:stCondLst>
                            <p:childTnLst>
                              <p:par>
                                <p:cTn id="29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53846E-6 3.7037E-6 L 0.10417 -0.08912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08" y="-446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4500"/>
                            </p:stCondLst>
                            <p:childTnLst>
                              <p:par>
                                <p:cTn id="3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9487E-6 -7.40741E-7 L 0.04615 0.2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08" y="1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6500"/>
                            </p:stCondLst>
                            <p:childTnLst>
                              <p:par>
                                <p:cTn id="35" presetID="42" presetClass="path" presetSubtype="0" accel="50000" decel="5000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10256E-6 1.85185E-6 L 0.01907 0.04745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6" y="2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9000"/>
                            </p:stCondLst>
                            <p:childTnLst>
                              <p:par>
                                <p:cTn id="3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30769E-6 5.18519E-6 L 0.12692 0.06737 L 0.1258 0.1713 L 0.17853 0.19399 " pathEditMode="relative" ptsTypes="AAAA">
                                      <p:cBhvr>
                                        <p:cTn id="39" dur="5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 számának hely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736F4303-2A52-4192-836D-2D5C0FE463E1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6517" y="1395977"/>
            <a:ext cx="1839262" cy="1869413"/>
          </a:xfrm>
          <a:prstGeom prst="rect">
            <a:avLst/>
          </a:prstGeom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8206" y="3469234"/>
            <a:ext cx="2555144" cy="1002894"/>
          </a:xfrm>
          <a:prstGeom prst="rect">
            <a:avLst/>
          </a:prstGeom>
        </p:spPr>
      </p:pic>
      <p:sp>
        <p:nvSpPr>
          <p:cNvPr id="10" name="Inhaltsplatzhalter 1"/>
          <p:cNvSpPr>
            <a:spLocks noGrp="1"/>
          </p:cNvSpPr>
          <p:nvPr>
            <p:ph sz="quarter" idx="13"/>
          </p:nvPr>
        </p:nvSpPr>
        <p:spPr>
          <a:xfrm>
            <a:off x="560388" y="1302369"/>
            <a:ext cx="4935637" cy="5013092"/>
          </a:xfrm>
        </p:spPr>
        <p:txBody>
          <a:bodyPr/>
          <a:lstStyle/>
          <a:p>
            <a:pPr lvl="1"/>
            <a:r>
              <a:rPr lang="en-US" sz="1500" dirty="0" smtClean="0"/>
              <a:t>Market leader combined terminal in the region</a:t>
            </a:r>
          </a:p>
          <a:p>
            <a:pPr lvl="1"/>
            <a:r>
              <a:rPr lang="en-US" sz="1500" dirty="0" smtClean="0"/>
              <a:t>Excellent location</a:t>
            </a:r>
          </a:p>
          <a:p>
            <a:pPr lvl="2"/>
            <a:r>
              <a:rPr lang="en-US" sz="1500" dirty="0" smtClean="0">
                <a:ea typeface="MS PGothic"/>
                <a:cs typeface="MS PGothic"/>
              </a:rPr>
              <a:t>Situated in the heart of Central-Eastern Europe</a:t>
            </a:r>
          </a:p>
          <a:p>
            <a:pPr lvl="2"/>
            <a:r>
              <a:rPr lang="en-US" sz="1500" dirty="0" smtClean="0">
                <a:ea typeface="MS PGothic"/>
                <a:cs typeface="MS PGothic"/>
              </a:rPr>
              <a:t>Direct connection with M0 highway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Provides complex and high level services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Well equipped </a:t>
            </a:r>
          </a:p>
          <a:p>
            <a:pPr lvl="2"/>
            <a:r>
              <a:rPr lang="en-US" sz="1500" dirty="0" smtClean="0">
                <a:ea typeface="MS PGothic"/>
                <a:cs typeface="MS PGothic"/>
              </a:rPr>
              <a:t>2 sets of gantry cranes</a:t>
            </a:r>
          </a:p>
          <a:p>
            <a:pPr lvl="2"/>
            <a:r>
              <a:rPr lang="en-US" sz="1500" dirty="0" smtClean="0">
                <a:ea typeface="MS PGothic"/>
                <a:cs typeface="MS PGothic"/>
              </a:rPr>
              <a:t>5  </a:t>
            </a:r>
            <a:r>
              <a:rPr lang="en-US" sz="1500" dirty="0" err="1" smtClean="0">
                <a:ea typeface="MS PGothic"/>
                <a:cs typeface="MS PGothic"/>
              </a:rPr>
              <a:t>reachstacker</a:t>
            </a:r>
            <a:r>
              <a:rPr lang="en-US" sz="1500" dirty="0" smtClean="0">
                <a:ea typeface="MS PGothic"/>
                <a:cs typeface="MS PGothic"/>
              </a:rPr>
              <a:t> (4 loaded; 1 empty)</a:t>
            </a:r>
          </a:p>
          <a:p>
            <a:pPr lvl="2"/>
            <a:r>
              <a:rPr lang="en-US" sz="1500" dirty="0" smtClean="0">
                <a:ea typeface="MS PGothic"/>
                <a:cs typeface="MS PGothic"/>
              </a:rPr>
              <a:t>2 terminal </a:t>
            </a:r>
            <a:r>
              <a:rPr lang="en-US" sz="1500" dirty="0" err="1" smtClean="0">
                <a:ea typeface="MS PGothic"/>
                <a:cs typeface="MS PGothic"/>
              </a:rPr>
              <a:t>tracktors</a:t>
            </a:r>
            <a:endParaRPr lang="en-US" sz="1500" dirty="0" smtClean="0">
              <a:ea typeface="MS PGothic"/>
              <a:cs typeface="MS PGothic"/>
            </a:endParaRPr>
          </a:p>
          <a:p>
            <a:pPr lvl="2"/>
            <a:r>
              <a:rPr lang="en-US" sz="1500" dirty="0" smtClean="0">
                <a:ea typeface="MS PGothic"/>
                <a:cs typeface="MS PGothic"/>
              </a:rPr>
              <a:t>7 rail sidings (each 750 m long)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Annual capacity 250.000 TEU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Storage capacity: 7.500 TEU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Part of RFC6 and RFC7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Member of UIRR</a:t>
            </a:r>
          </a:p>
          <a:p>
            <a:pPr lvl="1"/>
            <a:r>
              <a:rPr lang="en-US" sz="1500" dirty="0" smtClean="0">
                <a:ea typeface="MS PGothic"/>
                <a:cs typeface="MS PGothic"/>
              </a:rPr>
              <a:t>ISO and AEO certification</a:t>
            </a:r>
          </a:p>
        </p:txBody>
      </p:sp>
      <p:pic>
        <p:nvPicPr>
          <p:cNvPr id="3074" name="Picture 2" descr="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766" y="4819905"/>
            <a:ext cx="2701522" cy="940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hu-HU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71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d services</a:t>
            </a:r>
            <a:endParaRPr lang="en-US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736F4303-2A52-4192-836D-2D5C0FE463E1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8" name="Inhaltsplatzhalter 1"/>
          <p:cNvSpPr>
            <a:spLocks noGrp="1"/>
          </p:cNvSpPr>
          <p:nvPr>
            <p:ph sz="quarter" idx="13"/>
          </p:nvPr>
        </p:nvSpPr>
        <p:spPr>
          <a:xfrm>
            <a:off x="560388" y="1719164"/>
            <a:ext cx="5619031" cy="4566133"/>
          </a:xfrm>
          <a:solidFill>
            <a:schemeClr val="bg1"/>
          </a:solidFill>
        </p:spPr>
        <p:txBody>
          <a:bodyPr/>
          <a:lstStyle/>
          <a:p>
            <a:pPr lvl="1"/>
            <a:r>
              <a:rPr lang="en-US" dirty="0" smtClean="0">
                <a:ea typeface="MS PGothic"/>
                <a:cs typeface="MS PGothic"/>
              </a:rPr>
              <a:t>Handling and storage of containers, semitrailers and swap bodies 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Depot activity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Container repair works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Photographed seal control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VGM weighing service</a:t>
            </a:r>
          </a:p>
          <a:p>
            <a:pPr lvl="1"/>
            <a:r>
              <a:rPr lang="en-US" dirty="0" err="1" smtClean="0">
                <a:ea typeface="MS PGothic"/>
                <a:cs typeface="MS PGothic"/>
              </a:rPr>
              <a:t>Flexitank</a:t>
            </a:r>
            <a:r>
              <a:rPr lang="en-US" dirty="0" smtClean="0">
                <a:ea typeface="MS PGothic"/>
                <a:cs typeface="MS PGothic"/>
              </a:rPr>
              <a:t> installation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ISO kit insulation</a:t>
            </a:r>
          </a:p>
          <a:p>
            <a:pPr lvl="1"/>
            <a:r>
              <a:rPr lang="en-US" dirty="0" err="1" smtClean="0">
                <a:ea typeface="MS PGothic"/>
                <a:cs typeface="MS PGothic"/>
              </a:rPr>
              <a:t>Transloading</a:t>
            </a:r>
            <a:r>
              <a:rPr lang="en-US" dirty="0" smtClean="0">
                <a:ea typeface="MS PGothic"/>
                <a:cs typeface="MS PGothic"/>
              </a:rPr>
              <a:t> of cargo (</a:t>
            </a:r>
            <a:r>
              <a:rPr lang="en-US" dirty="0" err="1" smtClean="0">
                <a:ea typeface="MS PGothic"/>
                <a:cs typeface="MS PGothic"/>
              </a:rPr>
              <a:t>eg</a:t>
            </a:r>
            <a:r>
              <a:rPr lang="en-US" dirty="0" smtClean="0">
                <a:ea typeface="MS PGothic"/>
                <a:cs typeface="MS PGothic"/>
              </a:rPr>
              <a:t>.: coils)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Handling of reefer containers</a:t>
            </a:r>
          </a:p>
          <a:p>
            <a:pPr lvl="1"/>
            <a:r>
              <a:rPr lang="en-US" dirty="0" smtClean="0">
                <a:ea typeface="MS PGothic"/>
                <a:cs typeface="MS PGothic"/>
              </a:rPr>
              <a:t>ADR/RID</a:t>
            </a:r>
          </a:p>
          <a:p>
            <a:pPr marL="0"/>
            <a:endParaRPr lang="de-DE" dirty="0">
              <a:ea typeface="Geneva"/>
              <a:cs typeface="Geneva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4174" y="2098306"/>
            <a:ext cx="5265907" cy="39468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08020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/>
          <p:cNvSpPr txBox="1">
            <a:spLocks/>
          </p:cNvSpPr>
          <p:nvPr/>
        </p:nvSpPr>
        <p:spPr bwMode="auto">
          <a:xfrm>
            <a:off x="560653" y="504825"/>
            <a:ext cx="813633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 lIns="0" tIns="0" rIns="0" bIns="0" anchor="b"/>
          <a:lstStyle>
            <a:lvl1pPr algn="l" defTabSz="930275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0275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0275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0275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0275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26" algn="l" defTabSz="933168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52" algn="l" defTabSz="933168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779" algn="l" defTabSz="933168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04" algn="l" defTabSz="933168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>
              <a:defRPr/>
            </a:pPr>
            <a:r>
              <a:rPr lang="en-US" sz="1900" b="0" dirty="0" smtClean="0">
                <a:latin typeface="Arial" panose="020B0604020202020204" pitchFamily="34" charset="0"/>
                <a:cs typeface="Arial" panose="020B0604020202020204" pitchFamily="34" charset="0"/>
              </a:rPr>
              <a:t>The ÖBB in numbers</a:t>
            </a:r>
            <a:endParaRPr lang="en-US" sz="1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579571" y="1371601"/>
            <a:ext cx="2491978" cy="4333874"/>
            <a:chOff x="579571" y="1600201"/>
            <a:chExt cx="2491978" cy="4333874"/>
          </a:xfrm>
        </p:grpSpPr>
        <p:sp>
          <p:nvSpPr>
            <p:cNvPr id="33796" name="Rectangle 11"/>
            <p:cNvSpPr>
              <a:spLocks noChangeArrowheads="1"/>
            </p:cNvSpPr>
            <p:nvPr/>
          </p:nvSpPr>
          <p:spPr bwMode="auto">
            <a:xfrm>
              <a:off x="765308" y="4270376"/>
              <a:ext cx="2199613" cy="1663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dirty="0">
                  <a:solidFill>
                    <a:schemeClr val="bg2"/>
                  </a:solidFill>
                </a:rPr>
                <a:t>~ 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6.9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00</a:t>
              </a:r>
              <a:r>
                <a:rPr lang="de-AT" altLang="de-DE" sz="1200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employees</a:t>
              </a: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b="1" dirty="0" smtClean="0">
                  <a:solidFill>
                    <a:schemeClr val="bg2"/>
                  </a:solidFill>
                </a:rPr>
                <a:t>4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59 </a:t>
              </a:r>
              <a:r>
                <a:rPr lang="hu-HU" altLang="de-DE" sz="1200" b="1" dirty="0" err="1" smtClean="0">
                  <a:solidFill>
                    <a:schemeClr val="bg2"/>
                  </a:solidFill>
                </a:rPr>
                <a:t>Million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passengers</a:t>
              </a:r>
              <a:endParaRPr lang="hu-HU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de-AT" altLang="de-DE" sz="1200" b="1" dirty="0" smtClean="0">
                <a:solidFill>
                  <a:schemeClr val="bg2"/>
                </a:solidFill>
                <a:sym typeface="OeBB" pitchFamily="2" charset="2"/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b="1" dirty="0" smtClean="0">
                  <a:solidFill>
                    <a:schemeClr val="bg2"/>
                  </a:solidFill>
                  <a:sym typeface="OeBB" pitchFamily="2" charset="2"/>
                </a:rPr>
                <a:t>96,</a:t>
              </a:r>
              <a:r>
                <a:rPr lang="hu-HU" altLang="de-DE" sz="1200" b="1" dirty="0" smtClean="0">
                  <a:solidFill>
                    <a:schemeClr val="bg2"/>
                  </a:solidFill>
                  <a:sym typeface="OeBB" pitchFamily="2" charset="2"/>
                </a:rPr>
                <a:t>3</a:t>
              </a:r>
              <a:r>
                <a:rPr lang="de-AT" altLang="de-DE" sz="1200" b="1" dirty="0" smtClean="0">
                  <a:solidFill>
                    <a:schemeClr val="bg2"/>
                  </a:solidFill>
                  <a:sym typeface="OeBB" pitchFamily="2" charset="2"/>
                </a:rPr>
                <a:t>% </a:t>
              </a:r>
              <a:r>
                <a:rPr lang="hu-HU" altLang="de-DE" sz="1200" dirty="0" err="1" smtClean="0">
                  <a:solidFill>
                    <a:schemeClr val="bg2"/>
                  </a:solidFill>
                  <a:sym typeface="OeBB" pitchFamily="2" charset="2"/>
                </a:rPr>
                <a:t>punctuality</a:t>
              </a:r>
              <a:r>
                <a:rPr lang="de-AT" altLang="de-DE" sz="1200" dirty="0" smtClean="0">
                  <a:solidFill>
                    <a:schemeClr val="bg2"/>
                  </a:solidFill>
                  <a:sym typeface="OeBB" pitchFamily="2" charset="2"/>
                </a:rPr>
                <a:t/>
              </a:r>
              <a:br>
                <a:rPr lang="de-AT" altLang="de-DE" sz="1200" dirty="0" smtClean="0">
                  <a:solidFill>
                    <a:schemeClr val="bg2"/>
                  </a:solidFill>
                  <a:sym typeface="OeBB" pitchFamily="2" charset="2"/>
                </a:rPr>
              </a:br>
              <a:endParaRPr lang="de-AT" altLang="de-DE" sz="1200" dirty="0" smtClean="0">
                <a:solidFill>
                  <a:schemeClr val="bg2"/>
                </a:solidFill>
                <a:sym typeface="OeBB" pitchFamily="2" charset="2"/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b="1" dirty="0" smtClean="0">
                  <a:solidFill>
                    <a:schemeClr val="bg2"/>
                  </a:solidFill>
                  <a:sym typeface="OeBB" pitchFamily="2" charset="2"/>
                </a:rPr>
                <a:t>11% </a:t>
              </a:r>
              <a:r>
                <a:rPr lang="hu-HU" altLang="de-DE" sz="1200" dirty="0" err="1" smtClean="0">
                  <a:solidFill>
                    <a:schemeClr val="bg2"/>
                  </a:solidFill>
                  <a:sym typeface="OeBB" pitchFamily="2" charset="2"/>
                </a:rPr>
                <a:t>share</a:t>
              </a:r>
              <a:r>
                <a:rPr lang="hu-HU" altLang="de-DE" sz="1200" dirty="0" smtClean="0">
                  <a:solidFill>
                    <a:schemeClr val="bg2"/>
                  </a:solidFill>
                  <a:sym typeface="OeBB" pitchFamily="2" charset="2"/>
                </a:rPr>
                <a:t> of </a:t>
              </a:r>
              <a:r>
                <a:rPr lang="hu-HU" altLang="de-DE" sz="1200" dirty="0" err="1" smtClean="0">
                  <a:solidFill>
                    <a:schemeClr val="bg2"/>
                  </a:solidFill>
                  <a:sym typeface="OeBB" pitchFamily="2" charset="2"/>
                </a:rPr>
                <a:t>traffic</a:t>
              </a:r>
              <a:r>
                <a:rPr lang="hu-HU" altLang="de-DE" sz="1200" dirty="0" smtClean="0">
                  <a:solidFill>
                    <a:schemeClr val="bg2"/>
                  </a:solidFill>
                  <a:sym typeface="OeBB" pitchFamily="2" charset="2"/>
                </a:rPr>
                <a:t> </a:t>
              </a:r>
              <a:endParaRPr lang="de-AT" altLang="de-DE" sz="1200" dirty="0">
                <a:solidFill>
                  <a:schemeClr val="bg2"/>
                </a:solidFill>
              </a:endParaRPr>
            </a:p>
          </p:txBody>
        </p:sp>
        <p:pic>
          <p:nvPicPr>
            <p:cNvPr id="33797" name="Picture 5" descr="nahverkehr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363" y="1671638"/>
              <a:ext cx="2354394" cy="145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798" name="Rechteck 8"/>
            <p:cNvSpPr>
              <a:spLocks noChangeArrowheads="1"/>
            </p:cNvSpPr>
            <p:nvPr/>
          </p:nvSpPr>
          <p:spPr bwMode="auto">
            <a:xfrm>
              <a:off x="579571" y="1600201"/>
              <a:ext cx="2491978" cy="4333874"/>
            </a:xfrm>
            <a:prstGeom prst="rect">
              <a:avLst/>
            </a:prstGeom>
            <a:noFill/>
            <a:ln w="9525" algn="ctr">
              <a:solidFill>
                <a:srgbClr val="C9C4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AT" altLang="de-DE" dirty="0">
                <a:ea typeface="MS PGothic" pitchFamily="34" charset="-128"/>
              </a:endParaRPr>
            </a:p>
          </p:txBody>
        </p:sp>
        <p:pic>
          <p:nvPicPr>
            <p:cNvPr id="33799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3788" y="3573463"/>
              <a:ext cx="1406790" cy="474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uppieren 2"/>
          <p:cNvGrpSpPr/>
          <p:nvPr/>
        </p:nvGrpSpPr>
        <p:grpSpPr>
          <a:xfrm>
            <a:off x="3702712" y="1371601"/>
            <a:ext cx="2491978" cy="4333874"/>
            <a:chOff x="3702712" y="1600201"/>
            <a:chExt cx="2491978" cy="4333874"/>
          </a:xfrm>
        </p:grpSpPr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3854157" y="4270376"/>
              <a:ext cx="2063750" cy="148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171450" indent="-171450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  <a:defRPr/>
              </a:pPr>
              <a:r>
                <a:rPr lang="de-AT" altLang="de-DE" sz="1200" dirty="0">
                  <a:solidFill>
                    <a:schemeClr val="bg2"/>
                  </a:solidFill>
                </a:rPr>
                <a:t>~ 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8.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2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0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0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employees</a:t>
              </a: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marL="171450" indent="-171450"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  <a:defRPr/>
              </a:pPr>
              <a:endParaRPr lang="de-AT" altLang="de-DE" sz="1200" b="1" dirty="0" smtClean="0">
                <a:solidFill>
                  <a:schemeClr val="bg2"/>
                </a:solidFill>
              </a:endParaRPr>
            </a:p>
            <a:p>
              <a:pPr marL="171450" indent="-171450"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  <a:defRPr/>
              </a:pPr>
              <a:r>
                <a:rPr lang="hu-HU" altLang="de-DE" sz="1200" dirty="0" err="1" smtClean="0">
                  <a:solidFill>
                    <a:schemeClr val="bg2"/>
                  </a:solidFill>
                </a:rPr>
                <a:t>Presence</a:t>
              </a:r>
              <a:r>
                <a:rPr lang="hu-HU" altLang="de-DE" sz="1200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in</a:t>
              </a:r>
              <a:r>
                <a:rPr lang="hu-HU" altLang="de-DE" sz="1200" dirty="0" smtClean="0">
                  <a:solidFill>
                    <a:schemeClr val="bg2"/>
                  </a:solidFill>
                </a:rPr>
                <a:t> 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18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countries</a:t>
              </a: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marL="171450" indent="-171450"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  <a:defRPr/>
              </a:pPr>
              <a:endParaRPr lang="de-AT" altLang="de-DE" sz="1200" b="1" dirty="0" smtClean="0">
                <a:solidFill>
                  <a:schemeClr val="bg2"/>
                </a:solidFill>
              </a:endParaRPr>
            </a:p>
            <a:p>
              <a:pPr marL="171450" indent="-171450"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  <a:defRPr/>
              </a:pPr>
              <a:r>
                <a:rPr lang="hu-HU" altLang="de-DE" sz="1200" b="1" dirty="0" smtClean="0">
                  <a:solidFill>
                    <a:schemeClr val="bg2"/>
                  </a:solidFill>
                </a:rPr>
                <a:t>109,2 </a:t>
              </a:r>
              <a:r>
                <a:rPr lang="hu-HU" altLang="de-DE" sz="1200" b="1" dirty="0" err="1" smtClean="0">
                  <a:solidFill>
                    <a:schemeClr val="bg2"/>
                  </a:solidFill>
                </a:rPr>
                <a:t>Million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b="1" dirty="0" err="1" smtClean="0">
                  <a:solidFill>
                    <a:schemeClr val="bg2"/>
                  </a:solidFill>
                </a:rPr>
                <a:t>Tons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smtClean="0">
                  <a:solidFill>
                    <a:schemeClr val="bg2"/>
                  </a:solidFill>
                </a:rPr>
                <a:t>of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transported</a:t>
              </a:r>
              <a:r>
                <a:rPr lang="hu-HU" altLang="de-DE" sz="1200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goods</a:t>
              </a:r>
              <a:r>
                <a:rPr lang="de-AT" altLang="de-DE" sz="1200" dirty="0" smtClean="0">
                  <a:solidFill>
                    <a:schemeClr val="bg2"/>
                  </a:solidFill>
                </a:rPr>
                <a:t/>
              </a:r>
              <a:br>
                <a:rPr lang="de-AT" altLang="de-DE" sz="1200" dirty="0" smtClean="0">
                  <a:solidFill>
                    <a:schemeClr val="bg2"/>
                  </a:solidFill>
                </a:rPr>
              </a:br>
              <a:endParaRPr lang="de-AT" altLang="de-DE" sz="1200" dirty="0" smtClean="0">
                <a:solidFill>
                  <a:schemeClr val="bg2"/>
                </a:solidFill>
              </a:endParaRPr>
            </a:p>
          </p:txBody>
        </p:sp>
        <p:sp>
          <p:nvSpPr>
            <p:cNvPr id="33801" name="Rechteck 16"/>
            <p:cNvSpPr>
              <a:spLocks noChangeArrowheads="1"/>
            </p:cNvSpPr>
            <p:nvPr/>
          </p:nvSpPr>
          <p:spPr bwMode="auto">
            <a:xfrm>
              <a:off x="3702712" y="1600201"/>
              <a:ext cx="2491978" cy="4333874"/>
            </a:xfrm>
            <a:prstGeom prst="rect">
              <a:avLst/>
            </a:prstGeom>
            <a:noFill/>
            <a:ln w="9525" algn="ctr">
              <a:solidFill>
                <a:srgbClr val="C9C4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AT" altLang="de-DE" dirty="0">
                <a:ea typeface="MS PGothic" pitchFamily="34" charset="-128"/>
              </a:endParaRPr>
            </a:p>
          </p:txBody>
        </p:sp>
        <p:pic>
          <p:nvPicPr>
            <p:cNvPr id="33803" name="Grafik 1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065" y="1671638"/>
              <a:ext cx="2361273" cy="145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4" name="Picture 1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6923" y="3357563"/>
              <a:ext cx="2012156" cy="714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uppieren 3"/>
          <p:cNvGrpSpPr/>
          <p:nvPr/>
        </p:nvGrpSpPr>
        <p:grpSpPr>
          <a:xfrm>
            <a:off x="6825854" y="1371601"/>
            <a:ext cx="2491978" cy="4629149"/>
            <a:chOff x="6825854" y="1600201"/>
            <a:chExt cx="2491978" cy="4629149"/>
          </a:xfrm>
        </p:grpSpPr>
        <p:sp>
          <p:nvSpPr>
            <p:cNvPr id="33802" name="Rechteck 18"/>
            <p:cNvSpPr>
              <a:spLocks noChangeArrowheads="1"/>
            </p:cNvSpPr>
            <p:nvPr/>
          </p:nvSpPr>
          <p:spPr bwMode="auto">
            <a:xfrm>
              <a:off x="6825854" y="1600201"/>
              <a:ext cx="2491978" cy="4333874"/>
            </a:xfrm>
            <a:prstGeom prst="rect">
              <a:avLst/>
            </a:prstGeom>
            <a:noFill/>
            <a:ln w="9525" algn="ctr">
              <a:solidFill>
                <a:srgbClr val="C9C4A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AT" altLang="de-DE" dirty="0">
                <a:ea typeface="MS PGothic" pitchFamily="34" charset="-128"/>
              </a:endParaRPr>
            </a:p>
          </p:txBody>
        </p:sp>
        <p:pic>
          <p:nvPicPr>
            <p:cNvPr id="33805" name="Picture 8" descr="HLS_Wien-St-Poelten_Westabschnitt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94" b="-359"/>
            <a:stretch>
              <a:fillRect/>
            </a:stretch>
          </p:blipFill>
          <p:spPr bwMode="auto">
            <a:xfrm>
              <a:off x="6886047" y="1671638"/>
              <a:ext cx="2371593" cy="1452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6" name="Picture 13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7991"/>
            <a:stretch>
              <a:fillRect/>
            </a:stretch>
          </p:blipFill>
          <p:spPr bwMode="auto">
            <a:xfrm>
              <a:off x="7450137" y="3357563"/>
              <a:ext cx="1246850" cy="714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807" name="Rechteck 3"/>
            <p:cNvSpPr>
              <a:spLocks noChangeArrowheads="1"/>
            </p:cNvSpPr>
            <p:nvPr/>
          </p:nvSpPr>
          <p:spPr bwMode="auto">
            <a:xfrm>
              <a:off x="6886047" y="4260850"/>
              <a:ext cx="2259806" cy="196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dirty="0">
                  <a:solidFill>
                    <a:schemeClr val="bg2"/>
                  </a:solidFill>
                </a:rPr>
                <a:t>~ 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17.7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00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b="1" dirty="0" err="1" smtClean="0">
                  <a:solidFill>
                    <a:schemeClr val="bg2"/>
                  </a:solidFill>
                </a:rPr>
                <a:t>employees</a:t>
              </a: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de-AT" altLang="de-DE" sz="1200" b="1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b="1" dirty="0" smtClean="0">
                  <a:solidFill>
                    <a:schemeClr val="bg2"/>
                  </a:solidFill>
                </a:rPr>
                <a:t>1.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095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train</a:t>
              </a:r>
              <a:r>
                <a:rPr lang="hu-HU" altLang="de-DE" sz="1200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stations</a:t>
              </a: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de-AT" altLang="de-DE" sz="1200" b="1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b="1" dirty="0" smtClean="0">
                  <a:solidFill>
                    <a:schemeClr val="bg2"/>
                  </a:solidFill>
                </a:rPr>
                <a:t>668 </a:t>
              </a:r>
              <a:r>
                <a:rPr lang="de-AT" altLang="de-DE" sz="1200" b="1" dirty="0" err="1" smtClean="0">
                  <a:solidFill>
                    <a:schemeClr val="bg2"/>
                  </a:solidFill>
                </a:rPr>
                <a:t>GWh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self-produced</a:t>
              </a:r>
              <a:r>
                <a:rPr lang="hu-HU" altLang="de-DE" sz="1200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energy</a:t>
              </a:r>
              <a:endParaRPr lang="hu-HU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de-AT" altLang="de-DE" sz="1200" dirty="0" smtClean="0">
                <a:solidFill>
                  <a:schemeClr val="bg2"/>
                </a:solidFill>
              </a:endParaRPr>
            </a:p>
            <a:p>
              <a:pPr eaLnBrk="1" hangingPunct="1">
                <a:lnSpc>
                  <a:spcPts val="1600"/>
                </a:lnSpc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r>
                <a:rPr lang="de-AT" altLang="de-DE" sz="1200" dirty="0" smtClean="0">
                  <a:solidFill>
                    <a:schemeClr val="bg2"/>
                  </a:solidFill>
                </a:rPr>
                <a:t>~ 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1,7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hu-HU" altLang="de-DE" sz="1200" b="1" dirty="0" err="1" smtClean="0">
                  <a:solidFill>
                    <a:schemeClr val="bg2"/>
                  </a:solidFill>
                </a:rPr>
                <a:t>Billion</a:t>
              </a:r>
              <a:r>
                <a:rPr lang="hu-HU" altLang="de-DE" sz="1200" b="1" dirty="0" smtClean="0">
                  <a:solidFill>
                    <a:schemeClr val="bg2"/>
                  </a:solidFill>
                </a:rPr>
                <a:t> </a:t>
              </a:r>
              <a:r>
                <a:rPr lang="de-AT" altLang="de-DE" sz="1200" b="1" dirty="0" smtClean="0">
                  <a:solidFill>
                    <a:schemeClr val="bg2"/>
                  </a:solidFill>
                </a:rPr>
                <a:t>EUR </a:t>
              </a:r>
              <a:r>
                <a:rPr lang="hu-HU" altLang="de-DE" sz="1200" dirty="0" err="1" smtClean="0">
                  <a:solidFill>
                    <a:schemeClr val="bg2"/>
                  </a:solidFill>
                </a:rPr>
                <a:t>investment</a:t>
              </a:r>
              <a:endParaRPr lang="de-AT" altLang="de-DE" sz="1200" dirty="0">
                <a:solidFill>
                  <a:schemeClr val="bg2"/>
                </a:solidFill>
              </a:endParaRPr>
            </a:p>
          </p:txBody>
        </p:sp>
      </p:grp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5B9D2D-BDFC-E34F-B3E5-BF677FD8A5D6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872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444" y="1339994"/>
            <a:ext cx="7795648" cy="437333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10" name="Cím 1"/>
          <p:cNvSpPr>
            <a:spLocks noGrp="1"/>
          </p:cNvSpPr>
          <p:nvPr>
            <p:ph type="title"/>
          </p:nvPr>
        </p:nvSpPr>
        <p:spPr>
          <a:xfrm>
            <a:off x="560388" y="504825"/>
            <a:ext cx="5865812" cy="522288"/>
          </a:xfrm>
        </p:spPr>
        <p:txBody>
          <a:bodyPr/>
          <a:lstStyle/>
          <a:p>
            <a:r>
              <a:rPr lang="en-US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Rail Cargo Terminal-BILK Ltd.</a:t>
            </a:r>
            <a:endParaRPr lang="en-US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736F4303-2A52-4192-836D-2D5C0FE463E1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940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55715"/>
            <a:ext cx="9906000" cy="5074920"/>
          </a:xfrm>
          <a:prstGeom prst="rect">
            <a:avLst/>
          </a:prstGeom>
        </p:spPr>
      </p:pic>
      <p:sp>
        <p:nvSpPr>
          <p:cNvPr id="4" name="Titel 1"/>
          <p:cNvSpPr txBox="1">
            <a:spLocks/>
          </p:cNvSpPr>
          <p:nvPr/>
        </p:nvSpPr>
        <p:spPr bwMode="auto">
          <a:xfrm>
            <a:off x="169244" y="1386471"/>
            <a:ext cx="9567512" cy="187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fontAlgn="base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hu-HU" sz="2600" dirty="0" smtClean="0">
                <a:solidFill>
                  <a:srgbClr val="575757"/>
                </a:solidFill>
                <a:latin typeface="+mn-lt"/>
              </a:rPr>
              <a:t>THANK </a:t>
            </a:r>
            <a:r>
              <a:rPr lang="hu-HU" sz="2600" dirty="0">
                <a:solidFill>
                  <a:srgbClr val="575757"/>
                </a:solidFill>
                <a:latin typeface="+mn-lt"/>
              </a:rPr>
              <a:t>YOU FOR YOUR KIND </a:t>
            </a:r>
            <a:r>
              <a:rPr lang="hu-HU" sz="2600" dirty="0" smtClean="0">
                <a:solidFill>
                  <a:srgbClr val="575757"/>
                </a:solidFill>
                <a:latin typeface="+mn-lt"/>
              </a:rPr>
              <a:t>ATTENTION</a:t>
            </a:r>
          </a:p>
          <a:p>
            <a:pPr algn="ctr"/>
            <a:endParaRPr lang="hu-HU" sz="2600" dirty="0">
              <a:solidFill>
                <a:srgbClr val="575757"/>
              </a:solidFill>
              <a:latin typeface="+mn-lt"/>
            </a:endParaRPr>
          </a:p>
          <a:p>
            <a:pPr algn="ctr"/>
            <a:r>
              <a:rPr lang="hu-HU" sz="2600" dirty="0" smtClean="0">
                <a:solidFill>
                  <a:srgbClr val="575757"/>
                </a:solidFill>
                <a:latin typeface="+mn-lt"/>
              </a:rPr>
              <a:t>Daniel </a:t>
            </a:r>
            <a:r>
              <a:rPr lang="hu-HU" sz="2600" dirty="0" err="1" smtClean="0">
                <a:solidFill>
                  <a:srgbClr val="575757"/>
                </a:solidFill>
                <a:latin typeface="+mn-lt"/>
              </a:rPr>
              <a:t>Dezso</a:t>
            </a:r>
            <a:endParaRPr lang="hu-HU" sz="2600" dirty="0" smtClean="0">
              <a:solidFill>
                <a:srgbClr val="575757"/>
              </a:solidFill>
              <a:latin typeface="+mn-lt"/>
            </a:endParaRPr>
          </a:p>
          <a:p>
            <a:pPr algn="ctr"/>
            <a:endParaRPr lang="hu-HU" sz="1800" kern="0" dirty="0">
              <a:solidFill>
                <a:schemeClr val="accent3">
                  <a:lumMod val="75000"/>
                </a:schemeClr>
              </a:solidFill>
              <a:ea typeface="Geneva"/>
              <a:cs typeface="Geneva"/>
            </a:endParaRPr>
          </a:p>
          <a:p>
            <a:pPr algn="ctr"/>
            <a:endParaRPr lang="hu-HU" sz="1800" kern="0" dirty="0">
              <a:solidFill>
                <a:schemeClr val="accent3">
                  <a:lumMod val="75000"/>
                </a:schemeClr>
              </a:solidFill>
              <a:ea typeface="Geneva"/>
              <a:cs typeface="Geneva"/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2476500" y="3503312"/>
            <a:ext cx="4953000" cy="110799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hu-HU" dirty="0" err="1">
                <a:solidFill>
                  <a:schemeClr val="accent3">
                    <a:lumMod val="75000"/>
                  </a:schemeClr>
                </a:solidFill>
                <a:hlinkClick r:id="rId3"/>
              </a:rPr>
              <a:t>daniel.dezso</a:t>
            </a:r>
            <a:r>
              <a:rPr lang="hu-HU" dirty="0">
                <a:solidFill>
                  <a:schemeClr val="accent3">
                    <a:lumMod val="75000"/>
                  </a:schemeClr>
                </a:solidFill>
                <a:hlinkClick r:id="rId3"/>
              </a:rPr>
              <a:t>@</a:t>
            </a:r>
            <a:r>
              <a:rPr lang="hu-HU" dirty="0" err="1">
                <a:solidFill>
                  <a:schemeClr val="accent3">
                    <a:lumMod val="75000"/>
                  </a:schemeClr>
                </a:solidFill>
                <a:hlinkClick r:id="rId3"/>
              </a:rPr>
              <a:t>railcargo.com</a:t>
            </a:r>
            <a:endParaRPr lang="hu-HU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hu-HU" dirty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hu-HU" dirty="0" err="1">
                <a:solidFill>
                  <a:schemeClr val="accent3">
                    <a:lumMod val="75000"/>
                  </a:schemeClr>
                </a:solidFill>
                <a:hlinkClick r:id="rId4"/>
              </a:rPr>
              <a:t>miklos.sebok</a:t>
            </a:r>
            <a:r>
              <a:rPr lang="hu-HU" dirty="0">
                <a:solidFill>
                  <a:schemeClr val="accent3">
                    <a:lumMod val="75000"/>
                  </a:schemeClr>
                </a:solidFill>
                <a:hlinkClick r:id="rId4"/>
              </a:rPr>
              <a:t>@</a:t>
            </a:r>
            <a:r>
              <a:rPr lang="hu-HU" dirty="0" err="1">
                <a:solidFill>
                  <a:schemeClr val="accent3">
                    <a:lumMod val="75000"/>
                  </a:schemeClr>
                </a:solidFill>
                <a:hlinkClick r:id="rId4"/>
              </a:rPr>
              <a:t>railcargo.com</a:t>
            </a:r>
            <a:endParaRPr lang="hu-HU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58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9776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8" name="think-cell Folie" r:id="rId5" imgW="0" imgH="0" progId="">
                  <p:embed/>
                </p:oleObj>
              </mc:Choice>
              <mc:Fallback>
                <p:oleObj name="think-cell Foli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60387" y="504825"/>
            <a:ext cx="7088717" cy="522288"/>
          </a:xfrm>
        </p:spPr>
        <p:txBody>
          <a:bodyPr/>
          <a:lstStyle/>
          <a:p>
            <a:r>
              <a:rPr lang="en-GB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International presence – subsidiarie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A1A93A-3ECE-404F-9227-CE9DB02DD4BB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25" name="Rechteck 124"/>
          <p:cNvSpPr/>
          <p:nvPr/>
        </p:nvSpPr>
        <p:spPr bwMode="auto">
          <a:xfrm>
            <a:off x="2075144" y="2073123"/>
            <a:ext cx="4185511" cy="3415386"/>
          </a:xfrm>
          <a:prstGeom prst="rect">
            <a:avLst/>
          </a:prstGeom>
          <a:solidFill>
            <a:srgbClr val="E4ECF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GB" sz="20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27" name="Freihandform 126"/>
          <p:cNvSpPr/>
          <p:nvPr/>
        </p:nvSpPr>
        <p:spPr bwMode="auto">
          <a:xfrm>
            <a:off x="5344011" y="2070100"/>
            <a:ext cx="917575" cy="1067947"/>
          </a:xfrm>
          <a:custGeom>
            <a:avLst/>
            <a:gdLst>
              <a:gd name="connsiteX0" fmla="*/ 19050 w 917575"/>
              <a:gd name="connsiteY0" fmla="*/ 0 h 1067947"/>
              <a:gd name="connsiteX1" fmla="*/ 917575 w 917575"/>
              <a:gd name="connsiteY1" fmla="*/ 0 h 1067947"/>
              <a:gd name="connsiteX2" fmla="*/ 917575 w 917575"/>
              <a:gd name="connsiteY2" fmla="*/ 971550 h 1067947"/>
              <a:gd name="connsiteX3" fmla="*/ 869950 w 917575"/>
              <a:gd name="connsiteY3" fmla="*/ 987425 h 1067947"/>
              <a:gd name="connsiteX4" fmla="*/ 854075 w 917575"/>
              <a:gd name="connsiteY4" fmla="*/ 990600 h 1067947"/>
              <a:gd name="connsiteX5" fmla="*/ 825500 w 917575"/>
              <a:gd name="connsiteY5" fmla="*/ 1003300 h 1067947"/>
              <a:gd name="connsiteX6" fmla="*/ 815975 w 917575"/>
              <a:gd name="connsiteY6" fmla="*/ 1006475 h 1067947"/>
              <a:gd name="connsiteX7" fmla="*/ 806450 w 917575"/>
              <a:gd name="connsiteY7" fmla="*/ 1012825 h 1067947"/>
              <a:gd name="connsiteX8" fmla="*/ 787400 w 917575"/>
              <a:gd name="connsiteY8" fmla="*/ 1019175 h 1067947"/>
              <a:gd name="connsiteX9" fmla="*/ 774700 w 917575"/>
              <a:gd name="connsiteY9" fmla="*/ 1047750 h 1067947"/>
              <a:gd name="connsiteX10" fmla="*/ 765175 w 917575"/>
              <a:gd name="connsiteY10" fmla="*/ 1050925 h 1067947"/>
              <a:gd name="connsiteX11" fmla="*/ 762000 w 917575"/>
              <a:gd name="connsiteY11" fmla="*/ 1060450 h 1067947"/>
              <a:gd name="connsiteX12" fmla="*/ 708025 w 917575"/>
              <a:gd name="connsiteY12" fmla="*/ 1060450 h 1067947"/>
              <a:gd name="connsiteX13" fmla="*/ 704850 w 917575"/>
              <a:gd name="connsiteY13" fmla="*/ 1050925 h 1067947"/>
              <a:gd name="connsiteX14" fmla="*/ 688975 w 917575"/>
              <a:gd name="connsiteY14" fmla="*/ 1035050 h 1067947"/>
              <a:gd name="connsiteX15" fmla="*/ 682625 w 917575"/>
              <a:gd name="connsiteY15" fmla="*/ 1012825 h 1067947"/>
              <a:gd name="connsiteX16" fmla="*/ 676275 w 917575"/>
              <a:gd name="connsiteY16" fmla="*/ 1003300 h 1067947"/>
              <a:gd name="connsiteX17" fmla="*/ 669925 w 917575"/>
              <a:gd name="connsiteY17" fmla="*/ 984250 h 1067947"/>
              <a:gd name="connsiteX18" fmla="*/ 666750 w 917575"/>
              <a:gd name="connsiteY18" fmla="*/ 971550 h 1067947"/>
              <a:gd name="connsiteX19" fmla="*/ 650875 w 917575"/>
              <a:gd name="connsiteY19" fmla="*/ 955675 h 1067947"/>
              <a:gd name="connsiteX20" fmla="*/ 641350 w 917575"/>
              <a:gd name="connsiteY20" fmla="*/ 946150 h 1067947"/>
              <a:gd name="connsiteX21" fmla="*/ 619125 w 917575"/>
              <a:gd name="connsiteY21" fmla="*/ 920750 h 1067947"/>
              <a:gd name="connsiteX22" fmla="*/ 612775 w 917575"/>
              <a:gd name="connsiteY22" fmla="*/ 844550 h 1067947"/>
              <a:gd name="connsiteX23" fmla="*/ 606425 w 917575"/>
              <a:gd name="connsiteY23" fmla="*/ 822325 h 1067947"/>
              <a:gd name="connsiteX24" fmla="*/ 609600 w 917575"/>
              <a:gd name="connsiteY24" fmla="*/ 803275 h 1067947"/>
              <a:gd name="connsiteX25" fmla="*/ 625475 w 917575"/>
              <a:gd name="connsiteY25" fmla="*/ 790575 h 1067947"/>
              <a:gd name="connsiteX26" fmla="*/ 647700 w 917575"/>
              <a:gd name="connsiteY26" fmla="*/ 784225 h 1067947"/>
              <a:gd name="connsiteX27" fmla="*/ 692150 w 917575"/>
              <a:gd name="connsiteY27" fmla="*/ 787400 h 1067947"/>
              <a:gd name="connsiteX28" fmla="*/ 701675 w 917575"/>
              <a:gd name="connsiteY28" fmla="*/ 790575 h 1067947"/>
              <a:gd name="connsiteX29" fmla="*/ 755650 w 917575"/>
              <a:gd name="connsiteY29" fmla="*/ 787400 h 1067947"/>
              <a:gd name="connsiteX30" fmla="*/ 758825 w 917575"/>
              <a:gd name="connsiteY30" fmla="*/ 774700 h 1067947"/>
              <a:gd name="connsiteX31" fmla="*/ 749300 w 917575"/>
              <a:gd name="connsiteY31" fmla="*/ 765175 h 1067947"/>
              <a:gd name="connsiteX32" fmla="*/ 730250 w 917575"/>
              <a:gd name="connsiteY32" fmla="*/ 755650 h 1067947"/>
              <a:gd name="connsiteX33" fmla="*/ 676275 w 917575"/>
              <a:gd name="connsiteY33" fmla="*/ 746125 h 1067947"/>
              <a:gd name="connsiteX34" fmla="*/ 647700 w 917575"/>
              <a:gd name="connsiteY34" fmla="*/ 742950 h 1067947"/>
              <a:gd name="connsiteX35" fmla="*/ 622300 w 917575"/>
              <a:gd name="connsiteY35" fmla="*/ 736600 h 1067947"/>
              <a:gd name="connsiteX36" fmla="*/ 603250 w 917575"/>
              <a:gd name="connsiteY36" fmla="*/ 717550 h 1067947"/>
              <a:gd name="connsiteX37" fmla="*/ 596900 w 917575"/>
              <a:gd name="connsiteY37" fmla="*/ 688975 h 1067947"/>
              <a:gd name="connsiteX38" fmla="*/ 593725 w 917575"/>
              <a:gd name="connsiteY38" fmla="*/ 673100 h 1067947"/>
              <a:gd name="connsiteX39" fmla="*/ 584200 w 917575"/>
              <a:gd name="connsiteY39" fmla="*/ 669925 h 1067947"/>
              <a:gd name="connsiteX40" fmla="*/ 574675 w 917575"/>
              <a:gd name="connsiteY40" fmla="*/ 660400 h 1067947"/>
              <a:gd name="connsiteX41" fmla="*/ 561975 w 917575"/>
              <a:gd name="connsiteY41" fmla="*/ 657225 h 1067947"/>
              <a:gd name="connsiteX42" fmla="*/ 546100 w 917575"/>
              <a:gd name="connsiteY42" fmla="*/ 644525 h 1067947"/>
              <a:gd name="connsiteX43" fmla="*/ 536575 w 917575"/>
              <a:gd name="connsiteY43" fmla="*/ 635000 h 1067947"/>
              <a:gd name="connsiteX44" fmla="*/ 527050 w 917575"/>
              <a:gd name="connsiteY44" fmla="*/ 628650 h 1067947"/>
              <a:gd name="connsiteX45" fmla="*/ 520700 w 917575"/>
              <a:gd name="connsiteY45" fmla="*/ 619125 h 1067947"/>
              <a:gd name="connsiteX46" fmla="*/ 511175 w 917575"/>
              <a:gd name="connsiteY46" fmla="*/ 609600 h 1067947"/>
              <a:gd name="connsiteX47" fmla="*/ 504825 w 917575"/>
              <a:gd name="connsiteY47" fmla="*/ 600075 h 1067947"/>
              <a:gd name="connsiteX48" fmla="*/ 501650 w 917575"/>
              <a:gd name="connsiteY48" fmla="*/ 590550 h 1067947"/>
              <a:gd name="connsiteX49" fmla="*/ 473075 w 917575"/>
              <a:gd name="connsiteY49" fmla="*/ 568325 h 1067947"/>
              <a:gd name="connsiteX50" fmla="*/ 454025 w 917575"/>
              <a:gd name="connsiteY50" fmla="*/ 552450 h 1067947"/>
              <a:gd name="connsiteX51" fmla="*/ 444500 w 917575"/>
              <a:gd name="connsiteY51" fmla="*/ 520700 h 1067947"/>
              <a:gd name="connsiteX52" fmla="*/ 441325 w 917575"/>
              <a:gd name="connsiteY52" fmla="*/ 479425 h 1067947"/>
              <a:gd name="connsiteX53" fmla="*/ 434975 w 917575"/>
              <a:gd name="connsiteY53" fmla="*/ 454025 h 1067947"/>
              <a:gd name="connsiteX54" fmla="*/ 415925 w 917575"/>
              <a:gd name="connsiteY54" fmla="*/ 450850 h 1067947"/>
              <a:gd name="connsiteX55" fmla="*/ 400050 w 917575"/>
              <a:gd name="connsiteY55" fmla="*/ 447675 h 1067947"/>
              <a:gd name="connsiteX56" fmla="*/ 365125 w 917575"/>
              <a:gd name="connsiteY56" fmla="*/ 444500 h 1067947"/>
              <a:gd name="connsiteX57" fmla="*/ 352425 w 917575"/>
              <a:gd name="connsiteY57" fmla="*/ 441325 h 1067947"/>
              <a:gd name="connsiteX58" fmla="*/ 342900 w 917575"/>
              <a:gd name="connsiteY58" fmla="*/ 438150 h 1067947"/>
              <a:gd name="connsiteX59" fmla="*/ 307975 w 917575"/>
              <a:gd name="connsiteY59" fmla="*/ 428625 h 1067947"/>
              <a:gd name="connsiteX60" fmla="*/ 298450 w 917575"/>
              <a:gd name="connsiteY60" fmla="*/ 425450 h 1067947"/>
              <a:gd name="connsiteX61" fmla="*/ 279400 w 917575"/>
              <a:gd name="connsiteY61" fmla="*/ 419100 h 1067947"/>
              <a:gd name="connsiteX62" fmla="*/ 269875 w 917575"/>
              <a:gd name="connsiteY62" fmla="*/ 412750 h 1067947"/>
              <a:gd name="connsiteX63" fmla="*/ 260350 w 917575"/>
              <a:gd name="connsiteY63" fmla="*/ 403225 h 1067947"/>
              <a:gd name="connsiteX64" fmla="*/ 234950 w 917575"/>
              <a:gd name="connsiteY64" fmla="*/ 396875 h 1067947"/>
              <a:gd name="connsiteX65" fmla="*/ 222250 w 917575"/>
              <a:gd name="connsiteY65" fmla="*/ 390525 h 1067947"/>
              <a:gd name="connsiteX66" fmla="*/ 212725 w 917575"/>
              <a:gd name="connsiteY66" fmla="*/ 384175 h 1067947"/>
              <a:gd name="connsiteX67" fmla="*/ 193675 w 917575"/>
              <a:gd name="connsiteY67" fmla="*/ 377825 h 1067947"/>
              <a:gd name="connsiteX68" fmla="*/ 168275 w 917575"/>
              <a:gd name="connsiteY68" fmla="*/ 371475 h 1067947"/>
              <a:gd name="connsiteX69" fmla="*/ 155575 w 917575"/>
              <a:gd name="connsiteY69" fmla="*/ 365125 h 1067947"/>
              <a:gd name="connsiteX70" fmla="*/ 146050 w 917575"/>
              <a:gd name="connsiteY70" fmla="*/ 361950 h 1067947"/>
              <a:gd name="connsiteX71" fmla="*/ 127000 w 917575"/>
              <a:gd name="connsiteY71" fmla="*/ 342900 h 1067947"/>
              <a:gd name="connsiteX72" fmla="*/ 114300 w 917575"/>
              <a:gd name="connsiteY72" fmla="*/ 330200 h 1067947"/>
              <a:gd name="connsiteX73" fmla="*/ 111125 w 917575"/>
              <a:gd name="connsiteY73" fmla="*/ 320675 h 1067947"/>
              <a:gd name="connsiteX74" fmla="*/ 104775 w 917575"/>
              <a:gd name="connsiteY74" fmla="*/ 311150 h 1067947"/>
              <a:gd name="connsiteX75" fmla="*/ 101600 w 917575"/>
              <a:gd name="connsiteY75" fmla="*/ 276225 h 1067947"/>
              <a:gd name="connsiteX76" fmla="*/ 85725 w 917575"/>
              <a:gd name="connsiteY76" fmla="*/ 257175 h 1067947"/>
              <a:gd name="connsiteX77" fmla="*/ 76200 w 917575"/>
              <a:gd name="connsiteY77" fmla="*/ 254000 h 1067947"/>
              <a:gd name="connsiteX78" fmla="*/ 66675 w 917575"/>
              <a:gd name="connsiteY78" fmla="*/ 247650 h 1067947"/>
              <a:gd name="connsiteX79" fmla="*/ 57150 w 917575"/>
              <a:gd name="connsiteY79" fmla="*/ 209550 h 1067947"/>
              <a:gd name="connsiteX80" fmla="*/ 50800 w 917575"/>
              <a:gd name="connsiteY80" fmla="*/ 184150 h 1067947"/>
              <a:gd name="connsiteX81" fmla="*/ 47625 w 917575"/>
              <a:gd name="connsiteY81" fmla="*/ 136525 h 1067947"/>
              <a:gd name="connsiteX82" fmla="*/ 41275 w 917575"/>
              <a:gd name="connsiteY82" fmla="*/ 127000 h 1067947"/>
              <a:gd name="connsiteX83" fmla="*/ 22225 w 917575"/>
              <a:gd name="connsiteY83" fmla="*/ 120650 h 1067947"/>
              <a:gd name="connsiteX84" fmla="*/ 12700 w 917575"/>
              <a:gd name="connsiteY84" fmla="*/ 114300 h 1067947"/>
              <a:gd name="connsiteX85" fmla="*/ 9525 w 917575"/>
              <a:gd name="connsiteY85" fmla="*/ 104775 h 1067947"/>
              <a:gd name="connsiteX86" fmla="*/ 0 w 917575"/>
              <a:gd name="connsiteY86" fmla="*/ 85725 h 1067947"/>
              <a:gd name="connsiteX87" fmla="*/ 9525 w 917575"/>
              <a:gd name="connsiteY87" fmla="*/ 57150 h 1067947"/>
              <a:gd name="connsiteX88" fmla="*/ 15875 w 917575"/>
              <a:gd name="connsiteY88" fmla="*/ 47625 h 1067947"/>
              <a:gd name="connsiteX89" fmla="*/ 19050 w 917575"/>
              <a:gd name="connsiteY89" fmla="*/ 38100 h 1067947"/>
              <a:gd name="connsiteX90" fmla="*/ 28575 w 917575"/>
              <a:gd name="connsiteY90" fmla="*/ 34925 h 1067947"/>
              <a:gd name="connsiteX91" fmla="*/ 34925 w 917575"/>
              <a:gd name="connsiteY91" fmla="*/ 25400 h 1067947"/>
              <a:gd name="connsiteX92" fmla="*/ 31750 w 917575"/>
              <a:gd name="connsiteY92" fmla="*/ 6350 h 1067947"/>
              <a:gd name="connsiteX93" fmla="*/ 19050 w 917575"/>
              <a:gd name="connsiteY93" fmla="*/ 0 h 1067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917575" h="1067947">
                <a:moveTo>
                  <a:pt x="19050" y="0"/>
                </a:moveTo>
                <a:lnTo>
                  <a:pt x="917575" y="0"/>
                </a:lnTo>
                <a:lnTo>
                  <a:pt x="917575" y="971550"/>
                </a:lnTo>
                <a:lnTo>
                  <a:pt x="869950" y="987425"/>
                </a:lnTo>
                <a:cubicBezTo>
                  <a:pt x="864830" y="989132"/>
                  <a:pt x="859367" y="989542"/>
                  <a:pt x="854075" y="990600"/>
                </a:cubicBezTo>
                <a:cubicBezTo>
                  <a:pt x="838981" y="1000663"/>
                  <a:pt x="848170" y="995743"/>
                  <a:pt x="825500" y="1003300"/>
                </a:cubicBezTo>
                <a:lnTo>
                  <a:pt x="815975" y="1006475"/>
                </a:lnTo>
                <a:cubicBezTo>
                  <a:pt x="812800" y="1008592"/>
                  <a:pt x="809937" y="1011275"/>
                  <a:pt x="806450" y="1012825"/>
                </a:cubicBezTo>
                <a:cubicBezTo>
                  <a:pt x="800333" y="1015543"/>
                  <a:pt x="787400" y="1019175"/>
                  <a:pt x="787400" y="1019175"/>
                </a:cubicBezTo>
                <a:cubicBezTo>
                  <a:pt x="777337" y="1034269"/>
                  <a:pt x="782257" y="1025080"/>
                  <a:pt x="774700" y="1047750"/>
                </a:cubicBezTo>
                <a:cubicBezTo>
                  <a:pt x="773642" y="1050925"/>
                  <a:pt x="768350" y="1049867"/>
                  <a:pt x="765175" y="1050925"/>
                </a:cubicBezTo>
                <a:cubicBezTo>
                  <a:pt x="764117" y="1054100"/>
                  <a:pt x="764091" y="1057837"/>
                  <a:pt x="762000" y="1060450"/>
                </a:cubicBezTo>
                <a:cubicBezTo>
                  <a:pt x="749226" y="1076417"/>
                  <a:pt x="720149" y="1062182"/>
                  <a:pt x="708025" y="1060450"/>
                </a:cubicBezTo>
                <a:cubicBezTo>
                  <a:pt x="706967" y="1057275"/>
                  <a:pt x="706941" y="1053538"/>
                  <a:pt x="704850" y="1050925"/>
                </a:cubicBezTo>
                <a:cubicBezTo>
                  <a:pt x="687917" y="1029758"/>
                  <a:pt x="701675" y="1060450"/>
                  <a:pt x="688975" y="1035050"/>
                </a:cubicBezTo>
                <a:cubicBezTo>
                  <a:pt x="682796" y="1022693"/>
                  <a:pt x="688729" y="1027067"/>
                  <a:pt x="682625" y="1012825"/>
                </a:cubicBezTo>
                <a:cubicBezTo>
                  <a:pt x="681122" y="1009318"/>
                  <a:pt x="677825" y="1006787"/>
                  <a:pt x="676275" y="1003300"/>
                </a:cubicBezTo>
                <a:cubicBezTo>
                  <a:pt x="673557" y="997183"/>
                  <a:pt x="671548" y="990744"/>
                  <a:pt x="669925" y="984250"/>
                </a:cubicBezTo>
                <a:cubicBezTo>
                  <a:pt x="668867" y="980017"/>
                  <a:pt x="668469" y="975561"/>
                  <a:pt x="666750" y="971550"/>
                </a:cubicBezTo>
                <a:cubicBezTo>
                  <a:pt x="661576" y="959477"/>
                  <a:pt x="660282" y="963515"/>
                  <a:pt x="650875" y="955675"/>
                </a:cubicBezTo>
                <a:cubicBezTo>
                  <a:pt x="647426" y="952800"/>
                  <a:pt x="644107" y="949694"/>
                  <a:pt x="641350" y="946150"/>
                </a:cubicBezTo>
                <a:cubicBezTo>
                  <a:pt x="621404" y="920506"/>
                  <a:pt x="637564" y="933043"/>
                  <a:pt x="619125" y="920750"/>
                </a:cubicBezTo>
                <a:cubicBezTo>
                  <a:pt x="617008" y="895350"/>
                  <a:pt x="615490" y="869893"/>
                  <a:pt x="612775" y="844550"/>
                </a:cubicBezTo>
                <a:cubicBezTo>
                  <a:pt x="612146" y="838675"/>
                  <a:pt x="608405" y="828265"/>
                  <a:pt x="606425" y="822325"/>
                </a:cubicBezTo>
                <a:cubicBezTo>
                  <a:pt x="607483" y="815975"/>
                  <a:pt x="607564" y="809382"/>
                  <a:pt x="609600" y="803275"/>
                </a:cubicBezTo>
                <a:cubicBezTo>
                  <a:pt x="613008" y="793050"/>
                  <a:pt x="616538" y="793128"/>
                  <a:pt x="625475" y="790575"/>
                </a:cubicBezTo>
                <a:cubicBezTo>
                  <a:pt x="653382" y="782602"/>
                  <a:pt x="624862" y="791838"/>
                  <a:pt x="647700" y="784225"/>
                </a:cubicBezTo>
                <a:cubicBezTo>
                  <a:pt x="662517" y="785283"/>
                  <a:pt x="677397" y="785664"/>
                  <a:pt x="692150" y="787400"/>
                </a:cubicBezTo>
                <a:cubicBezTo>
                  <a:pt x="695474" y="787791"/>
                  <a:pt x="698328" y="790575"/>
                  <a:pt x="701675" y="790575"/>
                </a:cubicBezTo>
                <a:cubicBezTo>
                  <a:pt x="719698" y="790575"/>
                  <a:pt x="737658" y="788458"/>
                  <a:pt x="755650" y="787400"/>
                </a:cubicBezTo>
                <a:cubicBezTo>
                  <a:pt x="756708" y="783167"/>
                  <a:pt x="760024" y="778896"/>
                  <a:pt x="758825" y="774700"/>
                </a:cubicBezTo>
                <a:cubicBezTo>
                  <a:pt x="757591" y="770383"/>
                  <a:pt x="752749" y="768050"/>
                  <a:pt x="749300" y="765175"/>
                </a:cubicBezTo>
                <a:cubicBezTo>
                  <a:pt x="741094" y="758336"/>
                  <a:pt x="739796" y="758832"/>
                  <a:pt x="730250" y="755650"/>
                </a:cubicBezTo>
                <a:cubicBezTo>
                  <a:pt x="708033" y="740839"/>
                  <a:pt x="725824" y="750434"/>
                  <a:pt x="676275" y="746125"/>
                </a:cubicBezTo>
                <a:cubicBezTo>
                  <a:pt x="666727" y="745295"/>
                  <a:pt x="657225" y="744008"/>
                  <a:pt x="647700" y="742950"/>
                </a:cubicBezTo>
                <a:lnTo>
                  <a:pt x="622300" y="736600"/>
                </a:lnTo>
                <a:cubicBezTo>
                  <a:pt x="613588" y="734422"/>
                  <a:pt x="603250" y="717550"/>
                  <a:pt x="603250" y="717550"/>
                </a:cubicBezTo>
                <a:cubicBezTo>
                  <a:pt x="597652" y="700756"/>
                  <a:pt x="601370" y="713561"/>
                  <a:pt x="596900" y="688975"/>
                </a:cubicBezTo>
                <a:cubicBezTo>
                  <a:pt x="595935" y="683666"/>
                  <a:pt x="596718" y="677590"/>
                  <a:pt x="593725" y="673100"/>
                </a:cubicBezTo>
                <a:cubicBezTo>
                  <a:pt x="591869" y="670315"/>
                  <a:pt x="587375" y="670983"/>
                  <a:pt x="584200" y="669925"/>
                </a:cubicBezTo>
                <a:cubicBezTo>
                  <a:pt x="581025" y="666750"/>
                  <a:pt x="578574" y="662628"/>
                  <a:pt x="574675" y="660400"/>
                </a:cubicBezTo>
                <a:cubicBezTo>
                  <a:pt x="570886" y="658235"/>
                  <a:pt x="565606" y="659646"/>
                  <a:pt x="561975" y="657225"/>
                </a:cubicBezTo>
                <a:cubicBezTo>
                  <a:pt x="533252" y="638077"/>
                  <a:pt x="577239" y="654905"/>
                  <a:pt x="546100" y="644525"/>
                </a:cubicBezTo>
                <a:cubicBezTo>
                  <a:pt x="542925" y="641350"/>
                  <a:pt x="540024" y="637875"/>
                  <a:pt x="536575" y="635000"/>
                </a:cubicBezTo>
                <a:cubicBezTo>
                  <a:pt x="533644" y="632557"/>
                  <a:pt x="529748" y="631348"/>
                  <a:pt x="527050" y="628650"/>
                </a:cubicBezTo>
                <a:cubicBezTo>
                  <a:pt x="524352" y="625952"/>
                  <a:pt x="523143" y="622056"/>
                  <a:pt x="520700" y="619125"/>
                </a:cubicBezTo>
                <a:cubicBezTo>
                  <a:pt x="517825" y="615676"/>
                  <a:pt x="514050" y="613049"/>
                  <a:pt x="511175" y="609600"/>
                </a:cubicBezTo>
                <a:cubicBezTo>
                  <a:pt x="508732" y="606669"/>
                  <a:pt x="506532" y="603488"/>
                  <a:pt x="504825" y="600075"/>
                </a:cubicBezTo>
                <a:cubicBezTo>
                  <a:pt x="503328" y="597082"/>
                  <a:pt x="503705" y="593192"/>
                  <a:pt x="501650" y="590550"/>
                </a:cubicBezTo>
                <a:cubicBezTo>
                  <a:pt x="486658" y="571275"/>
                  <a:pt x="488725" y="573542"/>
                  <a:pt x="473075" y="568325"/>
                </a:cubicBezTo>
                <a:cubicBezTo>
                  <a:pt x="467147" y="564373"/>
                  <a:pt x="457620" y="558921"/>
                  <a:pt x="454025" y="552450"/>
                </a:cubicBezTo>
                <a:cubicBezTo>
                  <a:pt x="450511" y="546126"/>
                  <a:pt x="446550" y="528899"/>
                  <a:pt x="444500" y="520700"/>
                </a:cubicBezTo>
                <a:cubicBezTo>
                  <a:pt x="443442" y="506942"/>
                  <a:pt x="443276" y="493085"/>
                  <a:pt x="441325" y="479425"/>
                </a:cubicBezTo>
                <a:cubicBezTo>
                  <a:pt x="440091" y="470785"/>
                  <a:pt x="443583" y="455460"/>
                  <a:pt x="434975" y="454025"/>
                </a:cubicBezTo>
                <a:lnTo>
                  <a:pt x="415925" y="450850"/>
                </a:lnTo>
                <a:cubicBezTo>
                  <a:pt x="410616" y="449885"/>
                  <a:pt x="405405" y="448344"/>
                  <a:pt x="400050" y="447675"/>
                </a:cubicBezTo>
                <a:cubicBezTo>
                  <a:pt x="388451" y="446225"/>
                  <a:pt x="376767" y="445558"/>
                  <a:pt x="365125" y="444500"/>
                </a:cubicBezTo>
                <a:cubicBezTo>
                  <a:pt x="360892" y="443442"/>
                  <a:pt x="356621" y="442524"/>
                  <a:pt x="352425" y="441325"/>
                </a:cubicBezTo>
                <a:cubicBezTo>
                  <a:pt x="349207" y="440406"/>
                  <a:pt x="346147" y="438962"/>
                  <a:pt x="342900" y="438150"/>
                </a:cubicBezTo>
                <a:cubicBezTo>
                  <a:pt x="306998" y="429175"/>
                  <a:pt x="348843" y="442248"/>
                  <a:pt x="307975" y="428625"/>
                </a:cubicBezTo>
                <a:lnTo>
                  <a:pt x="298450" y="425450"/>
                </a:lnTo>
                <a:lnTo>
                  <a:pt x="279400" y="419100"/>
                </a:lnTo>
                <a:cubicBezTo>
                  <a:pt x="276225" y="416983"/>
                  <a:pt x="272806" y="415193"/>
                  <a:pt x="269875" y="412750"/>
                </a:cubicBezTo>
                <a:cubicBezTo>
                  <a:pt x="266426" y="409875"/>
                  <a:pt x="264438" y="405083"/>
                  <a:pt x="260350" y="403225"/>
                </a:cubicBezTo>
                <a:cubicBezTo>
                  <a:pt x="252405" y="399614"/>
                  <a:pt x="242756" y="400778"/>
                  <a:pt x="234950" y="396875"/>
                </a:cubicBezTo>
                <a:cubicBezTo>
                  <a:pt x="230717" y="394758"/>
                  <a:pt x="226359" y="392873"/>
                  <a:pt x="222250" y="390525"/>
                </a:cubicBezTo>
                <a:cubicBezTo>
                  <a:pt x="218937" y="388632"/>
                  <a:pt x="216212" y="385725"/>
                  <a:pt x="212725" y="384175"/>
                </a:cubicBezTo>
                <a:cubicBezTo>
                  <a:pt x="206608" y="381457"/>
                  <a:pt x="200025" y="379942"/>
                  <a:pt x="193675" y="377825"/>
                </a:cubicBezTo>
                <a:cubicBezTo>
                  <a:pt x="179030" y="372943"/>
                  <a:pt x="187432" y="375306"/>
                  <a:pt x="168275" y="371475"/>
                </a:cubicBezTo>
                <a:cubicBezTo>
                  <a:pt x="164042" y="369358"/>
                  <a:pt x="159925" y="366989"/>
                  <a:pt x="155575" y="365125"/>
                </a:cubicBezTo>
                <a:cubicBezTo>
                  <a:pt x="152499" y="363807"/>
                  <a:pt x="148692" y="364005"/>
                  <a:pt x="146050" y="361950"/>
                </a:cubicBezTo>
                <a:cubicBezTo>
                  <a:pt x="138961" y="356437"/>
                  <a:pt x="127000" y="342900"/>
                  <a:pt x="127000" y="342900"/>
                </a:cubicBezTo>
                <a:cubicBezTo>
                  <a:pt x="118533" y="317500"/>
                  <a:pt x="131233" y="347133"/>
                  <a:pt x="114300" y="330200"/>
                </a:cubicBezTo>
                <a:cubicBezTo>
                  <a:pt x="111933" y="327833"/>
                  <a:pt x="112622" y="323668"/>
                  <a:pt x="111125" y="320675"/>
                </a:cubicBezTo>
                <a:cubicBezTo>
                  <a:pt x="109418" y="317262"/>
                  <a:pt x="106892" y="314325"/>
                  <a:pt x="104775" y="311150"/>
                </a:cubicBezTo>
                <a:cubicBezTo>
                  <a:pt x="103717" y="299508"/>
                  <a:pt x="104049" y="287655"/>
                  <a:pt x="101600" y="276225"/>
                </a:cubicBezTo>
                <a:cubicBezTo>
                  <a:pt x="100624" y="271670"/>
                  <a:pt x="88694" y="259154"/>
                  <a:pt x="85725" y="257175"/>
                </a:cubicBezTo>
                <a:cubicBezTo>
                  <a:pt x="82940" y="255319"/>
                  <a:pt x="79375" y="255058"/>
                  <a:pt x="76200" y="254000"/>
                </a:cubicBezTo>
                <a:cubicBezTo>
                  <a:pt x="73025" y="251883"/>
                  <a:pt x="68697" y="250886"/>
                  <a:pt x="66675" y="247650"/>
                </a:cubicBezTo>
                <a:cubicBezTo>
                  <a:pt x="60730" y="238137"/>
                  <a:pt x="59078" y="220156"/>
                  <a:pt x="57150" y="209550"/>
                </a:cubicBezTo>
                <a:cubicBezTo>
                  <a:pt x="54085" y="192692"/>
                  <a:pt x="55206" y="197369"/>
                  <a:pt x="50800" y="184150"/>
                </a:cubicBezTo>
                <a:cubicBezTo>
                  <a:pt x="49742" y="168275"/>
                  <a:pt x="50241" y="152219"/>
                  <a:pt x="47625" y="136525"/>
                </a:cubicBezTo>
                <a:cubicBezTo>
                  <a:pt x="46998" y="132761"/>
                  <a:pt x="44511" y="129022"/>
                  <a:pt x="41275" y="127000"/>
                </a:cubicBezTo>
                <a:cubicBezTo>
                  <a:pt x="35599" y="123452"/>
                  <a:pt x="22225" y="120650"/>
                  <a:pt x="22225" y="120650"/>
                </a:cubicBezTo>
                <a:cubicBezTo>
                  <a:pt x="19050" y="118533"/>
                  <a:pt x="15084" y="117280"/>
                  <a:pt x="12700" y="114300"/>
                </a:cubicBezTo>
                <a:cubicBezTo>
                  <a:pt x="10609" y="111687"/>
                  <a:pt x="11022" y="107768"/>
                  <a:pt x="9525" y="104775"/>
                </a:cubicBezTo>
                <a:cubicBezTo>
                  <a:pt x="-2785" y="80156"/>
                  <a:pt x="7980" y="109666"/>
                  <a:pt x="0" y="85725"/>
                </a:cubicBezTo>
                <a:lnTo>
                  <a:pt x="9525" y="57150"/>
                </a:lnTo>
                <a:cubicBezTo>
                  <a:pt x="10732" y="53530"/>
                  <a:pt x="14168" y="51038"/>
                  <a:pt x="15875" y="47625"/>
                </a:cubicBezTo>
                <a:cubicBezTo>
                  <a:pt x="17372" y="44632"/>
                  <a:pt x="16683" y="40467"/>
                  <a:pt x="19050" y="38100"/>
                </a:cubicBezTo>
                <a:cubicBezTo>
                  <a:pt x="21417" y="35733"/>
                  <a:pt x="25400" y="35983"/>
                  <a:pt x="28575" y="34925"/>
                </a:cubicBezTo>
                <a:cubicBezTo>
                  <a:pt x="30692" y="31750"/>
                  <a:pt x="34504" y="29193"/>
                  <a:pt x="34925" y="25400"/>
                </a:cubicBezTo>
                <a:cubicBezTo>
                  <a:pt x="35636" y="19002"/>
                  <a:pt x="32660" y="12723"/>
                  <a:pt x="31750" y="6350"/>
                </a:cubicBezTo>
                <a:cubicBezTo>
                  <a:pt x="31600" y="5302"/>
                  <a:pt x="31750" y="4233"/>
                  <a:pt x="19050" y="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28" name="Freihandform 127"/>
          <p:cNvSpPr/>
          <p:nvPr/>
        </p:nvSpPr>
        <p:spPr bwMode="auto">
          <a:xfrm>
            <a:off x="2483015" y="5126585"/>
            <a:ext cx="282174" cy="359037"/>
          </a:xfrm>
          <a:custGeom>
            <a:avLst/>
            <a:gdLst>
              <a:gd name="connsiteX0" fmla="*/ 0 w 318317"/>
              <a:gd name="connsiteY0" fmla="*/ 401140 h 405026"/>
              <a:gd name="connsiteX1" fmla="*/ 14288 w 318317"/>
              <a:gd name="connsiteY1" fmla="*/ 351133 h 405026"/>
              <a:gd name="connsiteX2" fmla="*/ 30957 w 318317"/>
              <a:gd name="connsiteY2" fmla="*/ 286840 h 405026"/>
              <a:gd name="connsiteX3" fmla="*/ 45244 w 318317"/>
              <a:gd name="connsiteY3" fmla="*/ 203496 h 405026"/>
              <a:gd name="connsiteX4" fmla="*/ 30957 w 318317"/>
              <a:gd name="connsiteY4" fmla="*/ 124915 h 405026"/>
              <a:gd name="connsiteX5" fmla="*/ 11907 w 318317"/>
              <a:gd name="connsiteY5" fmla="*/ 89196 h 405026"/>
              <a:gd name="connsiteX6" fmla="*/ 30957 w 318317"/>
              <a:gd name="connsiteY6" fmla="*/ 29665 h 405026"/>
              <a:gd name="connsiteX7" fmla="*/ 52388 w 318317"/>
              <a:gd name="connsiteY7" fmla="*/ 17758 h 405026"/>
              <a:gd name="connsiteX8" fmla="*/ 61913 w 318317"/>
              <a:gd name="connsiteY8" fmla="*/ 51096 h 405026"/>
              <a:gd name="connsiteX9" fmla="*/ 92869 w 318317"/>
              <a:gd name="connsiteY9" fmla="*/ 58240 h 405026"/>
              <a:gd name="connsiteX10" fmla="*/ 221457 w 318317"/>
              <a:gd name="connsiteY10" fmla="*/ 3471 h 405026"/>
              <a:gd name="connsiteX11" fmla="*/ 257175 w 318317"/>
              <a:gd name="connsiteY11" fmla="*/ 8233 h 405026"/>
              <a:gd name="connsiteX12" fmla="*/ 285750 w 318317"/>
              <a:gd name="connsiteY12" fmla="*/ 29665 h 405026"/>
              <a:gd name="connsiteX13" fmla="*/ 311944 w 318317"/>
              <a:gd name="connsiteY13" fmla="*/ 96340 h 405026"/>
              <a:gd name="connsiteX14" fmla="*/ 314325 w 318317"/>
              <a:gd name="connsiteY14" fmla="*/ 172540 h 405026"/>
              <a:gd name="connsiteX15" fmla="*/ 264319 w 318317"/>
              <a:gd name="connsiteY15" fmla="*/ 205877 h 405026"/>
              <a:gd name="connsiteX16" fmla="*/ 288132 w 318317"/>
              <a:gd name="connsiteY16" fmla="*/ 234452 h 405026"/>
              <a:gd name="connsiteX17" fmla="*/ 288132 w 318317"/>
              <a:gd name="connsiteY17" fmla="*/ 274933 h 405026"/>
              <a:gd name="connsiteX18" fmla="*/ 261938 w 318317"/>
              <a:gd name="connsiteY18" fmla="*/ 386852 h 405026"/>
              <a:gd name="connsiteX19" fmla="*/ 254794 w 318317"/>
              <a:gd name="connsiteY19" fmla="*/ 403521 h 405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18317" h="405026">
                <a:moveTo>
                  <a:pt x="0" y="401140"/>
                </a:moveTo>
                <a:cubicBezTo>
                  <a:pt x="4564" y="385661"/>
                  <a:pt x="9129" y="370183"/>
                  <a:pt x="14288" y="351133"/>
                </a:cubicBezTo>
                <a:cubicBezTo>
                  <a:pt x="19448" y="332083"/>
                  <a:pt x="25798" y="311446"/>
                  <a:pt x="30957" y="286840"/>
                </a:cubicBezTo>
                <a:cubicBezTo>
                  <a:pt x="36116" y="262234"/>
                  <a:pt x="45244" y="230483"/>
                  <a:pt x="45244" y="203496"/>
                </a:cubicBezTo>
                <a:cubicBezTo>
                  <a:pt x="45244" y="176509"/>
                  <a:pt x="36513" y="143965"/>
                  <a:pt x="30957" y="124915"/>
                </a:cubicBezTo>
                <a:cubicBezTo>
                  <a:pt x="25401" y="105865"/>
                  <a:pt x="11907" y="105071"/>
                  <a:pt x="11907" y="89196"/>
                </a:cubicBezTo>
                <a:cubicBezTo>
                  <a:pt x="11907" y="73321"/>
                  <a:pt x="24210" y="41571"/>
                  <a:pt x="30957" y="29665"/>
                </a:cubicBezTo>
                <a:cubicBezTo>
                  <a:pt x="37704" y="17759"/>
                  <a:pt x="47229" y="14186"/>
                  <a:pt x="52388" y="17758"/>
                </a:cubicBezTo>
                <a:cubicBezTo>
                  <a:pt x="57547" y="21330"/>
                  <a:pt x="55166" y="44349"/>
                  <a:pt x="61913" y="51096"/>
                </a:cubicBezTo>
                <a:cubicBezTo>
                  <a:pt x="68660" y="57843"/>
                  <a:pt x="66278" y="66177"/>
                  <a:pt x="92869" y="58240"/>
                </a:cubicBezTo>
                <a:cubicBezTo>
                  <a:pt x="119460" y="50303"/>
                  <a:pt x="194073" y="11805"/>
                  <a:pt x="221457" y="3471"/>
                </a:cubicBezTo>
                <a:cubicBezTo>
                  <a:pt x="248841" y="-4863"/>
                  <a:pt x="246460" y="3867"/>
                  <a:pt x="257175" y="8233"/>
                </a:cubicBezTo>
                <a:cubicBezTo>
                  <a:pt x="267890" y="12599"/>
                  <a:pt x="276622" y="14981"/>
                  <a:pt x="285750" y="29665"/>
                </a:cubicBezTo>
                <a:cubicBezTo>
                  <a:pt x="294878" y="44349"/>
                  <a:pt x="307182" y="72528"/>
                  <a:pt x="311944" y="96340"/>
                </a:cubicBezTo>
                <a:cubicBezTo>
                  <a:pt x="316706" y="120152"/>
                  <a:pt x="322262" y="154284"/>
                  <a:pt x="314325" y="172540"/>
                </a:cubicBezTo>
                <a:cubicBezTo>
                  <a:pt x="306388" y="190796"/>
                  <a:pt x="268684" y="195558"/>
                  <a:pt x="264319" y="205877"/>
                </a:cubicBezTo>
                <a:cubicBezTo>
                  <a:pt x="259954" y="216196"/>
                  <a:pt x="284163" y="222943"/>
                  <a:pt x="288132" y="234452"/>
                </a:cubicBezTo>
                <a:cubicBezTo>
                  <a:pt x="292101" y="245961"/>
                  <a:pt x="292498" y="249533"/>
                  <a:pt x="288132" y="274933"/>
                </a:cubicBezTo>
                <a:cubicBezTo>
                  <a:pt x="283766" y="300333"/>
                  <a:pt x="267494" y="365421"/>
                  <a:pt x="261938" y="386852"/>
                </a:cubicBezTo>
                <a:cubicBezTo>
                  <a:pt x="256382" y="408283"/>
                  <a:pt x="255588" y="405902"/>
                  <a:pt x="254794" y="403521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29" name="Freihandform 128"/>
          <p:cNvSpPr/>
          <p:nvPr/>
        </p:nvSpPr>
        <p:spPr bwMode="auto">
          <a:xfrm>
            <a:off x="4526337" y="5049448"/>
            <a:ext cx="1110318" cy="436950"/>
          </a:xfrm>
          <a:custGeom>
            <a:avLst/>
            <a:gdLst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07244 w 1252538"/>
              <a:gd name="connsiteY40" fmla="*/ 385763 h 492919"/>
              <a:gd name="connsiteX41" fmla="*/ 816769 w 1252538"/>
              <a:gd name="connsiteY41" fmla="*/ 395288 h 492919"/>
              <a:gd name="connsiteX42" fmla="*/ 814388 w 1252538"/>
              <a:gd name="connsiteY42" fmla="*/ 402432 h 492919"/>
              <a:gd name="connsiteX43" fmla="*/ 809625 w 1252538"/>
              <a:gd name="connsiteY43" fmla="*/ 409575 h 492919"/>
              <a:gd name="connsiteX44" fmla="*/ 795338 w 1252538"/>
              <a:gd name="connsiteY44" fmla="*/ 416719 h 492919"/>
              <a:gd name="connsiteX45" fmla="*/ 773907 w 1252538"/>
              <a:gd name="connsiteY45" fmla="*/ 414338 h 492919"/>
              <a:gd name="connsiteX46" fmla="*/ 759619 w 1252538"/>
              <a:gd name="connsiteY46" fmla="*/ 404813 h 492919"/>
              <a:gd name="connsiteX47" fmla="*/ 752475 w 1252538"/>
              <a:gd name="connsiteY47" fmla="*/ 400050 h 492919"/>
              <a:gd name="connsiteX48" fmla="*/ 747713 w 1252538"/>
              <a:gd name="connsiteY48" fmla="*/ 392907 h 492919"/>
              <a:gd name="connsiteX49" fmla="*/ 740569 w 1252538"/>
              <a:gd name="connsiteY49" fmla="*/ 390525 h 492919"/>
              <a:gd name="connsiteX50" fmla="*/ 733425 w 1252538"/>
              <a:gd name="connsiteY50" fmla="*/ 385763 h 492919"/>
              <a:gd name="connsiteX51" fmla="*/ 714375 w 1252538"/>
              <a:gd name="connsiteY51" fmla="*/ 381000 h 492919"/>
              <a:gd name="connsiteX52" fmla="*/ 707232 w 1252538"/>
              <a:gd name="connsiteY52" fmla="*/ 378619 h 492919"/>
              <a:gd name="connsiteX53" fmla="*/ 690563 w 1252538"/>
              <a:gd name="connsiteY53" fmla="*/ 381000 h 492919"/>
              <a:gd name="connsiteX54" fmla="*/ 692944 w 1252538"/>
              <a:gd name="connsiteY54" fmla="*/ 388144 h 492919"/>
              <a:gd name="connsiteX55" fmla="*/ 700088 w 1252538"/>
              <a:gd name="connsiteY55" fmla="*/ 392907 h 492919"/>
              <a:gd name="connsiteX56" fmla="*/ 709613 w 1252538"/>
              <a:gd name="connsiteY56" fmla="*/ 402432 h 492919"/>
              <a:gd name="connsiteX57" fmla="*/ 711994 w 1252538"/>
              <a:gd name="connsiteY57" fmla="*/ 409575 h 492919"/>
              <a:gd name="connsiteX58" fmla="*/ 728663 w 1252538"/>
              <a:gd name="connsiteY58" fmla="*/ 428625 h 492919"/>
              <a:gd name="connsiteX59" fmla="*/ 731044 w 1252538"/>
              <a:gd name="connsiteY59" fmla="*/ 461963 h 492919"/>
              <a:gd name="connsiteX60" fmla="*/ 723900 w 1252538"/>
              <a:gd name="connsiteY60" fmla="*/ 466725 h 492919"/>
              <a:gd name="connsiteX61" fmla="*/ 709613 w 1252538"/>
              <a:gd name="connsiteY61" fmla="*/ 461963 h 492919"/>
              <a:gd name="connsiteX62" fmla="*/ 707232 w 1252538"/>
              <a:gd name="connsiteY62" fmla="*/ 454819 h 492919"/>
              <a:gd name="connsiteX63" fmla="*/ 702469 w 1252538"/>
              <a:gd name="connsiteY63" fmla="*/ 447675 h 492919"/>
              <a:gd name="connsiteX64" fmla="*/ 688182 w 1252538"/>
              <a:gd name="connsiteY64" fmla="*/ 442913 h 492919"/>
              <a:gd name="connsiteX65" fmla="*/ 678657 w 1252538"/>
              <a:gd name="connsiteY65" fmla="*/ 431007 h 492919"/>
              <a:gd name="connsiteX66" fmla="*/ 671513 w 1252538"/>
              <a:gd name="connsiteY66" fmla="*/ 416719 h 492919"/>
              <a:gd name="connsiteX67" fmla="*/ 650082 w 1252538"/>
              <a:gd name="connsiteY67" fmla="*/ 404813 h 492919"/>
              <a:gd name="connsiteX68" fmla="*/ 642938 w 1252538"/>
              <a:gd name="connsiteY68" fmla="*/ 400050 h 492919"/>
              <a:gd name="connsiteX69" fmla="*/ 609600 w 1252538"/>
              <a:gd name="connsiteY69" fmla="*/ 400050 h 492919"/>
              <a:gd name="connsiteX70" fmla="*/ 609600 w 1252538"/>
              <a:gd name="connsiteY70" fmla="*/ 426244 h 492919"/>
              <a:gd name="connsiteX71" fmla="*/ 616744 w 1252538"/>
              <a:gd name="connsiteY71" fmla="*/ 433388 h 492919"/>
              <a:gd name="connsiteX72" fmla="*/ 631032 w 1252538"/>
              <a:gd name="connsiteY72" fmla="*/ 442913 h 492919"/>
              <a:gd name="connsiteX73" fmla="*/ 635794 w 1252538"/>
              <a:gd name="connsiteY73" fmla="*/ 450057 h 492919"/>
              <a:gd name="connsiteX74" fmla="*/ 657225 w 1252538"/>
              <a:gd name="connsiteY74" fmla="*/ 459582 h 492919"/>
              <a:gd name="connsiteX75" fmla="*/ 664369 w 1252538"/>
              <a:gd name="connsiteY75" fmla="*/ 464344 h 492919"/>
              <a:gd name="connsiteX76" fmla="*/ 671513 w 1252538"/>
              <a:gd name="connsiteY76" fmla="*/ 466725 h 492919"/>
              <a:gd name="connsiteX77" fmla="*/ 673894 w 1252538"/>
              <a:gd name="connsiteY77" fmla="*/ 488157 h 492919"/>
              <a:gd name="connsiteX78" fmla="*/ 666750 w 1252538"/>
              <a:gd name="connsiteY78" fmla="*/ 490538 h 492919"/>
              <a:gd name="connsiteX79" fmla="*/ 642938 w 1252538"/>
              <a:gd name="connsiteY79" fmla="*/ 492919 h 492919"/>
              <a:gd name="connsiteX80" fmla="*/ 616744 w 1252538"/>
              <a:gd name="connsiteY80" fmla="*/ 485775 h 492919"/>
              <a:gd name="connsiteX81" fmla="*/ 609600 w 1252538"/>
              <a:gd name="connsiteY81" fmla="*/ 481013 h 492919"/>
              <a:gd name="connsiteX82" fmla="*/ 600075 w 1252538"/>
              <a:gd name="connsiteY82" fmla="*/ 476250 h 492919"/>
              <a:gd name="connsiteX83" fmla="*/ 592932 w 1252538"/>
              <a:gd name="connsiteY83" fmla="*/ 469107 h 492919"/>
              <a:gd name="connsiteX84" fmla="*/ 585788 w 1252538"/>
              <a:gd name="connsiteY84" fmla="*/ 454819 h 492919"/>
              <a:gd name="connsiteX85" fmla="*/ 581025 w 1252538"/>
              <a:gd name="connsiteY85" fmla="*/ 435769 h 492919"/>
              <a:gd name="connsiteX86" fmla="*/ 578644 w 1252538"/>
              <a:gd name="connsiteY86" fmla="*/ 428625 h 492919"/>
              <a:gd name="connsiteX87" fmla="*/ 576263 w 1252538"/>
              <a:gd name="connsiteY87" fmla="*/ 409575 h 492919"/>
              <a:gd name="connsiteX88" fmla="*/ 569119 w 1252538"/>
              <a:gd name="connsiteY88" fmla="*/ 404813 h 492919"/>
              <a:gd name="connsiteX89" fmla="*/ 554832 w 1252538"/>
              <a:gd name="connsiteY89" fmla="*/ 400050 h 492919"/>
              <a:gd name="connsiteX90" fmla="*/ 547688 w 1252538"/>
              <a:gd name="connsiteY90" fmla="*/ 395288 h 492919"/>
              <a:gd name="connsiteX91" fmla="*/ 540544 w 1252538"/>
              <a:gd name="connsiteY91" fmla="*/ 392907 h 492919"/>
              <a:gd name="connsiteX92" fmla="*/ 533400 w 1252538"/>
              <a:gd name="connsiteY92" fmla="*/ 388144 h 492919"/>
              <a:gd name="connsiteX93" fmla="*/ 519113 w 1252538"/>
              <a:gd name="connsiteY93" fmla="*/ 385763 h 492919"/>
              <a:gd name="connsiteX94" fmla="*/ 514350 w 1252538"/>
              <a:gd name="connsiteY94" fmla="*/ 378619 h 492919"/>
              <a:gd name="connsiteX95" fmla="*/ 514350 w 1252538"/>
              <a:gd name="connsiteY95" fmla="*/ 350044 h 492919"/>
              <a:gd name="connsiteX96" fmla="*/ 521494 w 1252538"/>
              <a:gd name="connsiteY96" fmla="*/ 345282 h 492919"/>
              <a:gd name="connsiteX97" fmla="*/ 531019 w 1252538"/>
              <a:gd name="connsiteY97" fmla="*/ 323850 h 492919"/>
              <a:gd name="connsiteX98" fmla="*/ 521494 w 1252538"/>
              <a:gd name="connsiteY98" fmla="*/ 309563 h 492919"/>
              <a:gd name="connsiteX99" fmla="*/ 507207 w 1252538"/>
              <a:gd name="connsiteY99" fmla="*/ 304800 h 492919"/>
              <a:gd name="connsiteX100" fmla="*/ 490538 w 1252538"/>
              <a:gd name="connsiteY100" fmla="*/ 307182 h 492919"/>
              <a:gd name="connsiteX101" fmla="*/ 476250 w 1252538"/>
              <a:gd name="connsiteY101" fmla="*/ 316707 h 492919"/>
              <a:gd name="connsiteX102" fmla="*/ 469107 w 1252538"/>
              <a:gd name="connsiteY102" fmla="*/ 319088 h 492919"/>
              <a:gd name="connsiteX103" fmla="*/ 452438 w 1252538"/>
              <a:gd name="connsiteY103" fmla="*/ 340519 h 492919"/>
              <a:gd name="connsiteX104" fmla="*/ 447675 w 1252538"/>
              <a:gd name="connsiteY104" fmla="*/ 347663 h 492919"/>
              <a:gd name="connsiteX105" fmla="*/ 445294 w 1252538"/>
              <a:gd name="connsiteY105" fmla="*/ 369094 h 492919"/>
              <a:gd name="connsiteX106" fmla="*/ 452438 w 1252538"/>
              <a:gd name="connsiteY106" fmla="*/ 373857 h 492919"/>
              <a:gd name="connsiteX107" fmla="*/ 454819 w 1252538"/>
              <a:gd name="connsiteY107" fmla="*/ 381000 h 492919"/>
              <a:gd name="connsiteX108" fmla="*/ 447675 w 1252538"/>
              <a:gd name="connsiteY108" fmla="*/ 404813 h 492919"/>
              <a:gd name="connsiteX109" fmla="*/ 445294 w 1252538"/>
              <a:gd name="connsiteY109" fmla="*/ 411957 h 492919"/>
              <a:gd name="connsiteX110" fmla="*/ 440532 w 1252538"/>
              <a:gd name="connsiteY110" fmla="*/ 421482 h 492919"/>
              <a:gd name="connsiteX111" fmla="*/ 442913 w 1252538"/>
              <a:gd name="connsiteY111" fmla="*/ 433388 h 492919"/>
              <a:gd name="connsiteX112" fmla="*/ 445294 w 1252538"/>
              <a:gd name="connsiteY112" fmla="*/ 435769 h 492919"/>
              <a:gd name="connsiteX113" fmla="*/ 490538 w 1252538"/>
              <a:gd name="connsiteY113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07244 w 1252538"/>
              <a:gd name="connsiteY40" fmla="*/ 385763 h 492919"/>
              <a:gd name="connsiteX41" fmla="*/ 816769 w 1252538"/>
              <a:gd name="connsiteY41" fmla="*/ 395288 h 492919"/>
              <a:gd name="connsiteX42" fmla="*/ 814388 w 1252538"/>
              <a:gd name="connsiteY42" fmla="*/ 402432 h 492919"/>
              <a:gd name="connsiteX43" fmla="*/ 809625 w 1252538"/>
              <a:gd name="connsiteY43" fmla="*/ 409575 h 492919"/>
              <a:gd name="connsiteX44" fmla="*/ 795338 w 1252538"/>
              <a:gd name="connsiteY44" fmla="*/ 416719 h 492919"/>
              <a:gd name="connsiteX45" fmla="*/ 773907 w 1252538"/>
              <a:gd name="connsiteY45" fmla="*/ 414338 h 492919"/>
              <a:gd name="connsiteX46" fmla="*/ 759619 w 1252538"/>
              <a:gd name="connsiteY46" fmla="*/ 404813 h 492919"/>
              <a:gd name="connsiteX47" fmla="*/ 752475 w 1252538"/>
              <a:gd name="connsiteY47" fmla="*/ 400050 h 492919"/>
              <a:gd name="connsiteX48" fmla="*/ 747713 w 1252538"/>
              <a:gd name="connsiteY48" fmla="*/ 392907 h 492919"/>
              <a:gd name="connsiteX49" fmla="*/ 740569 w 1252538"/>
              <a:gd name="connsiteY49" fmla="*/ 390525 h 492919"/>
              <a:gd name="connsiteX50" fmla="*/ 733425 w 1252538"/>
              <a:gd name="connsiteY50" fmla="*/ 385763 h 492919"/>
              <a:gd name="connsiteX51" fmla="*/ 714375 w 1252538"/>
              <a:gd name="connsiteY51" fmla="*/ 381000 h 492919"/>
              <a:gd name="connsiteX52" fmla="*/ 707232 w 1252538"/>
              <a:gd name="connsiteY52" fmla="*/ 378619 h 492919"/>
              <a:gd name="connsiteX53" fmla="*/ 690563 w 1252538"/>
              <a:gd name="connsiteY53" fmla="*/ 381000 h 492919"/>
              <a:gd name="connsiteX54" fmla="*/ 692944 w 1252538"/>
              <a:gd name="connsiteY54" fmla="*/ 388144 h 492919"/>
              <a:gd name="connsiteX55" fmla="*/ 700088 w 1252538"/>
              <a:gd name="connsiteY55" fmla="*/ 392907 h 492919"/>
              <a:gd name="connsiteX56" fmla="*/ 709613 w 1252538"/>
              <a:gd name="connsiteY56" fmla="*/ 402432 h 492919"/>
              <a:gd name="connsiteX57" fmla="*/ 711994 w 1252538"/>
              <a:gd name="connsiteY57" fmla="*/ 409575 h 492919"/>
              <a:gd name="connsiteX58" fmla="*/ 728663 w 1252538"/>
              <a:gd name="connsiteY58" fmla="*/ 428625 h 492919"/>
              <a:gd name="connsiteX59" fmla="*/ 731044 w 1252538"/>
              <a:gd name="connsiteY59" fmla="*/ 461963 h 492919"/>
              <a:gd name="connsiteX60" fmla="*/ 723900 w 1252538"/>
              <a:gd name="connsiteY60" fmla="*/ 466725 h 492919"/>
              <a:gd name="connsiteX61" fmla="*/ 709613 w 1252538"/>
              <a:gd name="connsiteY61" fmla="*/ 461963 h 492919"/>
              <a:gd name="connsiteX62" fmla="*/ 707232 w 1252538"/>
              <a:gd name="connsiteY62" fmla="*/ 454819 h 492919"/>
              <a:gd name="connsiteX63" fmla="*/ 702469 w 1252538"/>
              <a:gd name="connsiteY63" fmla="*/ 447675 h 492919"/>
              <a:gd name="connsiteX64" fmla="*/ 688182 w 1252538"/>
              <a:gd name="connsiteY64" fmla="*/ 442913 h 492919"/>
              <a:gd name="connsiteX65" fmla="*/ 678657 w 1252538"/>
              <a:gd name="connsiteY65" fmla="*/ 431007 h 492919"/>
              <a:gd name="connsiteX66" fmla="*/ 671513 w 1252538"/>
              <a:gd name="connsiteY66" fmla="*/ 416719 h 492919"/>
              <a:gd name="connsiteX67" fmla="*/ 650082 w 1252538"/>
              <a:gd name="connsiteY67" fmla="*/ 404813 h 492919"/>
              <a:gd name="connsiteX68" fmla="*/ 642938 w 1252538"/>
              <a:gd name="connsiteY68" fmla="*/ 400050 h 492919"/>
              <a:gd name="connsiteX69" fmla="*/ 609600 w 1252538"/>
              <a:gd name="connsiteY69" fmla="*/ 400050 h 492919"/>
              <a:gd name="connsiteX70" fmla="*/ 609600 w 1252538"/>
              <a:gd name="connsiteY70" fmla="*/ 426244 h 492919"/>
              <a:gd name="connsiteX71" fmla="*/ 616744 w 1252538"/>
              <a:gd name="connsiteY71" fmla="*/ 433388 h 492919"/>
              <a:gd name="connsiteX72" fmla="*/ 631032 w 1252538"/>
              <a:gd name="connsiteY72" fmla="*/ 442913 h 492919"/>
              <a:gd name="connsiteX73" fmla="*/ 657225 w 1252538"/>
              <a:gd name="connsiteY73" fmla="*/ 459582 h 492919"/>
              <a:gd name="connsiteX74" fmla="*/ 664369 w 1252538"/>
              <a:gd name="connsiteY74" fmla="*/ 464344 h 492919"/>
              <a:gd name="connsiteX75" fmla="*/ 671513 w 1252538"/>
              <a:gd name="connsiteY75" fmla="*/ 466725 h 492919"/>
              <a:gd name="connsiteX76" fmla="*/ 673894 w 1252538"/>
              <a:gd name="connsiteY76" fmla="*/ 488157 h 492919"/>
              <a:gd name="connsiteX77" fmla="*/ 666750 w 1252538"/>
              <a:gd name="connsiteY77" fmla="*/ 490538 h 492919"/>
              <a:gd name="connsiteX78" fmla="*/ 642938 w 1252538"/>
              <a:gd name="connsiteY78" fmla="*/ 492919 h 492919"/>
              <a:gd name="connsiteX79" fmla="*/ 616744 w 1252538"/>
              <a:gd name="connsiteY79" fmla="*/ 485775 h 492919"/>
              <a:gd name="connsiteX80" fmla="*/ 609600 w 1252538"/>
              <a:gd name="connsiteY80" fmla="*/ 481013 h 492919"/>
              <a:gd name="connsiteX81" fmla="*/ 600075 w 1252538"/>
              <a:gd name="connsiteY81" fmla="*/ 476250 h 492919"/>
              <a:gd name="connsiteX82" fmla="*/ 592932 w 1252538"/>
              <a:gd name="connsiteY82" fmla="*/ 469107 h 492919"/>
              <a:gd name="connsiteX83" fmla="*/ 585788 w 1252538"/>
              <a:gd name="connsiteY83" fmla="*/ 454819 h 492919"/>
              <a:gd name="connsiteX84" fmla="*/ 581025 w 1252538"/>
              <a:gd name="connsiteY84" fmla="*/ 435769 h 492919"/>
              <a:gd name="connsiteX85" fmla="*/ 578644 w 1252538"/>
              <a:gd name="connsiteY85" fmla="*/ 428625 h 492919"/>
              <a:gd name="connsiteX86" fmla="*/ 576263 w 1252538"/>
              <a:gd name="connsiteY86" fmla="*/ 409575 h 492919"/>
              <a:gd name="connsiteX87" fmla="*/ 569119 w 1252538"/>
              <a:gd name="connsiteY87" fmla="*/ 404813 h 492919"/>
              <a:gd name="connsiteX88" fmla="*/ 554832 w 1252538"/>
              <a:gd name="connsiteY88" fmla="*/ 400050 h 492919"/>
              <a:gd name="connsiteX89" fmla="*/ 547688 w 1252538"/>
              <a:gd name="connsiteY89" fmla="*/ 395288 h 492919"/>
              <a:gd name="connsiteX90" fmla="*/ 540544 w 1252538"/>
              <a:gd name="connsiteY90" fmla="*/ 392907 h 492919"/>
              <a:gd name="connsiteX91" fmla="*/ 533400 w 1252538"/>
              <a:gd name="connsiteY91" fmla="*/ 388144 h 492919"/>
              <a:gd name="connsiteX92" fmla="*/ 519113 w 1252538"/>
              <a:gd name="connsiteY92" fmla="*/ 385763 h 492919"/>
              <a:gd name="connsiteX93" fmla="*/ 514350 w 1252538"/>
              <a:gd name="connsiteY93" fmla="*/ 378619 h 492919"/>
              <a:gd name="connsiteX94" fmla="*/ 514350 w 1252538"/>
              <a:gd name="connsiteY94" fmla="*/ 350044 h 492919"/>
              <a:gd name="connsiteX95" fmla="*/ 521494 w 1252538"/>
              <a:gd name="connsiteY95" fmla="*/ 345282 h 492919"/>
              <a:gd name="connsiteX96" fmla="*/ 531019 w 1252538"/>
              <a:gd name="connsiteY96" fmla="*/ 323850 h 492919"/>
              <a:gd name="connsiteX97" fmla="*/ 521494 w 1252538"/>
              <a:gd name="connsiteY97" fmla="*/ 309563 h 492919"/>
              <a:gd name="connsiteX98" fmla="*/ 507207 w 1252538"/>
              <a:gd name="connsiteY98" fmla="*/ 304800 h 492919"/>
              <a:gd name="connsiteX99" fmla="*/ 490538 w 1252538"/>
              <a:gd name="connsiteY99" fmla="*/ 307182 h 492919"/>
              <a:gd name="connsiteX100" fmla="*/ 476250 w 1252538"/>
              <a:gd name="connsiteY100" fmla="*/ 316707 h 492919"/>
              <a:gd name="connsiteX101" fmla="*/ 469107 w 1252538"/>
              <a:gd name="connsiteY101" fmla="*/ 319088 h 492919"/>
              <a:gd name="connsiteX102" fmla="*/ 452438 w 1252538"/>
              <a:gd name="connsiteY102" fmla="*/ 340519 h 492919"/>
              <a:gd name="connsiteX103" fmla="*/ 447675 w 1252538"/>
              <a:gd name="connsiteY103" fmla="*/ 347663 h 492919"/>
              <a:gd name="connsiteX104" fmla="*/ 445294 w 1252538"/>
              <a:gd name="connsiteY104" fmla="*/ 369094 h 492919"/>
              <a:gd name="connsiteX105" fmla="*/ 452438 w 1252538"/>
              <a:gd name="connsiteY105" fmla="*/ 373857 h 492919"/>
              <a:gd name="connsiteX106" fmla="*/ 454819 w 1252538"/>
              <a:gd name="connsiteY106" fmla="*/ 381000 h 492919"/>
              <a:gd name="connsiteX107" fmla="*/ 447675 w 1252538"/>
              <a:gd name="connsiteY107" fmla="*/ 404813 h 492919"/>
              <a:gd name="connsiteX108" fmla="*/ 445294 w 1252538"/>
              <a:gd name="connsiteY108" fmla="*/ 411957 h 492919"/>
              <a:gd name="connsiteX109" fmla="*/ 440532 w 1252538"/>
              <a:gd name="connsiteY109" fmla="*/ 421482 h 492919"/>
              <a:gd name="connsiteX110" fmla="*/ 442913 w 1252538"/>
              <a:gd name="connsiteY110" fmla="*/ 433388 h 492919"/>
              <a:gd name="connsiteX111" fmla="*/ 445294 w 1252538"/>
              <a:gd name="connsiteY111" fmla="*/ 435769 h 492919"/>
              <a:gd name="connsiteX112" fmla="*/ 490538 w 1252538"/>
              <a:gd name="connsiteY112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07244 w 1252538"/>
              <a:gd name="connsiteY40" fmla="*/ 385763 h 492919"/>
              <a:gd name="connsiteX41" fmla="*/ 816769 w 1252538"/>
              <a:gd name="connsiteY41" fmla="*/ 395288 h 492919"/>
              <a:gd name="connsiteX42" fmla="*/ 814388 w 1252538"/>
              <a:gd name="connsiteY42" fmla="*/ 402432 h 492919"/>
              <a:gd name="connsiteX43" fmla="*/ 809625 w 1252538"/>
              <a:gd name="connsiteY43" fmla="*/ 409575 h 492919"/>
              <a:gd name="connsiteX44" fmla="*/ 795338 w 1252538"/>
              <a:gd name="connsiteY44" fmla="*/ 416719 h 492919"/>
              <a:gd name="connsiteX45" fmla="*/ 773907 w 1252538"/>
              <a:gd name="connsiteY45" fmla="*/ 414338 h 492919"/>
              <a:gd name="connsiteX46" fmla="*/ 759619 w 1252538"/>
              <a:gd name="connsiteY46" fmla="*/ 404813 h 492919"/>
              <a:gd name="connsiteX47" fmla="*/ 752475 w 1252538"/>
              <a:gd name="connsiteY47" fmla="*/ 400050 h 492919"/>
              <a:gd name="connsiteX48" fmla="*/ 747713 w 1252538"/>
              <a:gd name="connsiteY48" fmla="*/ 392907 h 492919"/>
              <a:gd name="connsiteX49" fmla="*/ 740569 w 1252538"/>
              <a:gd name="connsiteY49" fmla="*/ 390525 h 492919"/>
              <a:gd name="connsiteX50" fmla="*/ 733425 w 1252538"/>
              <a:gd name="connsiteY50" fmla="*/ 385763 h 492919"/>
              <a:gd name="connsiteX51" fmla="*/ 714375 w 1252538"/>
              <a:gd name="connsiteY51" fmla="*/ 381000 h 492919"/>
              <a:gd name="connsiteX52" fmla="*/ 707232 w 1252538"/>
              <a:gd name="connsiteY52" fmla="*/ 378619 h 492919"/>
              <a:gd name="connsiteX53" fmla="*/ 690563 w 1252538"/>
              <a:gd name="connsiteY53" fmla="*/ 381000 h 492919"/>
              <a:gd name="connsiteX54" fmla="*/ 692944 w 1252538"/>
              <a:gd name="connsiteY54" fmla="*/ 388144 h 492919"/>
              <a:gd name="connsiteX55" fmla="*/ 700088 w 1252538"/>
              <a:gd name="connsiteY55" fmla="*/ 392907 h 492919"/>
              <a:gd name="connsiteX56" fmla="*/ 709613 w 1252538"/>
              <a:gd name="connsiteY56" fmla="*/ 402432 h 492919"/>
              <a:gd name="connsiteX57" fmla="*/ 711994 w 1252538"/>
              <a:gd name="connsiteY57" fmla="*/ 409575 h 492919"/>
              <a:gd name="connsiteX58" fmla="*/ 728663 w 1252538"/>
              <a:gd name="connsiteY58" fmla="*/ 428625 h 492919"/>
              <a:gd name="connsiteX59" fmla="*/ 731044 w 1252538"/>
              <a:gd name="connsiteY59" fmla="*/ 461963 h 492919"/>
              <a:gd name="connsiteX60" fmla="*/ 723900 w 1252538"/>
              <a:gd name="connsiteY60" fmla="*/ 466725 h 492919"/>
              <a:gd name="connsiteX61" fmla="*/ 709613 w 1252538"/>
              <a:gd name="connsiteY61" fmla="*/ 461963 h 492919"/>
              <a:gd name="connsiteX62" fmla="*/ 707232 w 1252538"/>
              <a:gd name="connsiteY62" fmla="*/ 454819 h 492919"/>
              <a:gd name="connsiteX63" fmla="*/ 702469 w 1252538"/>
              <a:gd name="connsiteY63" fmla="*/ 447675 h 492919"/>
              <a:gd name="connsiteX64" fmla="*/ 688182 w 1252538"/>
              <a:gd name="connsiteY64" fmla="*/ 442913 h 492919"/>
              <a:gd name="connsiteX65" fmla="*/ 671513 w 1252538"/>
              <a:gd name="connsiteY65" fmla="*/ 416719 h 492919"/>
              <a:gd name="connsiteX66" fmla="*/ 650082 w 1252538"/>
              <a:gd name="connsiteY66" fmla="*/ 404813 h 492919"/>
              <a:gd name="connsiteX67" fmla="*/ 642938 w 1252538"/>
              <a:gd name="connsiteY67" fmla="*/ 400050 h 492919"/>
              <a:gd name="connsiteX68" fmla="*/ 609600 w 1252538"/>
              <a:gd name="connsiteY68" fmla="*/ 400050 h 492919"/>
              <a:gd name="connsiteX69" fmla="*/ 609600 w 1252538"/>
              <a:gd name="connsiteY69" fmla="*/ 426244 h 492919"/>
              <a:gd name="connsiteX70" fmla="*/ 616744 w 1252538"/>
              <a:gd name="connsiteY70" fmla="*/ 433388 h 492919"/>
              <a:gd name="connsiteX71" fmla="*/ 631032 w 1252538"/>
              <a:gd name="connsiteY71" fmla="*/ 442913 h 492919"/>
              <a:gd name="connsiteX72" fmla="*/ 657225 w 1252538"/>
              <a:gd name="connsiteY72" fmla="*/ 459582 h 492919"/>
              <a:gd name="connsiteX73" fmla="*/ 664369 w 1252538"/>
              <a:gd name="connsiteY73" fmla="*/ 464344 h 492919"/>
              <a:gd name="connsiteX74" fmla="*/ 671513 w 1252538"/>
              <a:gd name="connsiteY74" fmla="*/ 466725 h 492919"/>
              <a:gd name="connsiteX75" fmla="*/ 673894 w 1252538"/>
              <a:gd name="connsiteY75" fmla="*/ 488157 h 492919"/>
              <a:gd name="connsiteX76" fmla="*/ 666750 w 1252538"/>
              <a:gd name="connsiteY76" fmla="*/ 490538 h 492919"/>
              <a:gd name="connsiteX77" fmla="*/ 642938 w 1252538"/>
              <a:gd name="connsiteY77" fmla="*/ 492919 h 492919"/>
              <a:gd name="connsiteX78" fmla="*/ 616744 w 1252538"/>
              <a:gd name="connsiteY78" fmla="*/ 485775 h 492919"/>
              <a:gd name="connsiteX79" fmla="*/ 609600 w 1252538"/>
              <a:gd name="connsiteY79" fmla="*/ 481013 h 492919"/>
              <a:gd name="connsiteX80" fmla="*/ 600075 w 1252538"/>
              <a:gd name="connsiteY80" fmla="*/ 476250 h 492919"/>
              <a:gd name="connsiteX81" fmla="*/ 592932 w 1252538"/>
              <a:gd name="connsiteY81" fmla="*/ 469107 h 492919"/>
              <a:gd name="connsiteX82" fmla="*/ 585788 w 1252538"/>
              <a:gd name="connsiteY82" fmla="*/ 454819 h 492919"/>
              <a:gd name="connsiteX83" fmla="*/ 581025 w 1252538"/>
              <a:gd name="connsiteY83" fmla="*/ 435769 h 492919"/>
              <a:gd name="connsiteX84" fmla="*/ 578644 w 1252538"/>
              <a:gd name="connsiteY84" fmla="*/ 428625 h 492919"/>
              <a:gd name="connsiteX85" fmla="*/ 576263 w 1252538"/>
              <a:gd name="connsiteY85" fmla="*/ 409575 h 492919"/>
              <a:gd name="connsiteX86" fmla="*/ 569119 w 1252538"/>
              <a:gd name="connsiteY86" fmla="*/ 404813 h 492919"/>
              <a:gd name="connsiteX87" fmla="*/ 554832 w 1252538"/>
              <a:gd name="connsiteY87" fmla="*/ 400050 h 492919"/>
              <a:gd name="connsiteX88" fmla="*/ 547688 w 1252538"/>
              <a:gd name="connsiteY88" fmla="*/ 395288 h 492919"/>
              <a:gd name="connsiteX89" fmla="*/ 540544 w 1252538"/>
              <a:gd name="connsiteY89" fmla="*/ 392907 h 492919"/>
              <a:gd name="connsiteX90" fmla="*/ 533400 w 1252538"/>
              <a:gd name="connsiteY90" fmla="*/ 388144 h 492919"/>
              <a:gd name="connsiteX91" fmla="*/ 519113 w 1252538"/>
              <a:gd name="connsiteY91" fmla="*/ 385763 h 492919"/>
              <a:gd name="connsiteX92" fmla="*/ 514350 w 1252538"/>
              <a:gd name="connsiteY92" fmla="*/ 378619 h 492919"/>
              <a:gd name="connsiteX93" fmla="*/ 514350 w 1252538"/>
              <a:gd name="connsiteY93" fmla="*/ 350044 h 492919"/>
              <a:gd name="connsiteX94" fmla="*/ 521494 w 1252538"/>
              <a:gd name="connsiteY94" fmla="*/ 345282 h 492919"/>
              <a:gd name="connsiteX95" fmla="*/ 531019 w 1252538"/>
              <a:gd name="connsiteY95" fmla="*/ 323850 h 492919"/>
              <a:gd name="connsiteX96" fmla="*/ 521494 w 1252538"/>
              <a:gd name="connsiteY96" fmla="*/ 309563 h 492919"/>
              <a:gd name="connsiteX97" fmla="*/ 507207 w 1252538"/>
              <a:gd name="connsiteY97" fmla="*/ 304800 h 492919"/>
              <a:gd name="connsiteX98" fmla="*/ 490538 w 1252538"/>
              <a:gd name="connsiteY98" fmla="*/ 307182 h 492919"/>
              <a:gd name="connsiteX99" fmla="*/ 476250 w 1252538"/>
              <a:gd name="connsiteY99" fmla="*/ 316707 h 492919"/>
              <a:gd name="connsiteX100" fmla="*/ 469107 w 1252538"/>
              <a:gd name="connsiteY100" fmla="*/ 319088 h 492919"/>
              <a:gd name="connsiteX101" fmla="*/ 452438 w 1252538"/>
              <a:gd name="connsiteY101" fmla="*/ 340519 h 492919"/>
              <a:gd name="connsiteX102" fmla="*/ 447675 w 1252538"/>
              <a:gd name="connsiteY102" fmla="*/ 347663 h 492919"/>
              <a:gd name="connsiteX103" fmla="*/ 445294 w 1252538"/>
              <a:gd name="connsiteY103" fmla="*/ 369094 h 492919"/>
              <a:gd name="connsiteX104" fmla="*/ 452438 w 1252538"/>
              <a:gd name="connsiteY104" fmla="*/ 373857 h 492919"/>
              <a:gd name="connsiteX105" fmla="*/ 454819 w 1252538"/>
              <a:gd name="connsiteY105" fmla="*/ 381000 h 492919"/>
              <a:gd name="connsiteX106" fmla="*/ 447675 w 1252538"/>
              <a:gd name="connsiteY106" fmla="*/ 404813 h 492919"/>
              <a:gd name="connsiteX107" fmla="*/ 445294 w 1252538"/>
              <a:gd name="connsiteY107" fmla="*/ 411957 h 492919"/>
              <a:gd name="connsiteX108" fmla="*/ 440532 w 1252538"/>
              <a:gd name="connsiteY108" fmla="*/ 421482 h 492919"/>
              <a:gd name="connsiteX109" fmla="*/ 442913 w 1252538"/>
              <a:gd name="connsiteY109" fmla="*/ 433388 h 492919"/>
              <a:gd name="connsiteX110" fmla="*/ 445294 w 1252538"/>
              <a:gd name="connsiteY110" fmla="*/ 435769 h 492919"/>
              <a:gd name="connsiteX111" fmla="*/ 490538 w 1252538"/>
              <a:gd name="connsiteY111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07244 w 1252538"/>
              <a:gd name="connsiteY40" fmla="*/ 385763 h 492919"/>
              <a:gd name="connsiteX41" fmla="*/ 816769 w 1252538"/>
              <a:gd name="connsiteY41" fmla="*/ 395288 h 492919"/>
              <a:gd name="connsiteX42" fmla="*/ 814388 w 1252538"/>
              <a:gd name="connsiteY42" fmla="*/ 402432 h 492919"/>
              <a:gd name="connsiteX43" fmla="*/ 809625 w 1252538"/>
              <a:gd name="connsiteY43" fmla="*/ 409575 h 492919"/>
              <a:gd name="connsiteX44" fmla="*/ 795338 w 1252538"/>
              <a:gd name="connsiteY44" fmla="*/ 416719 h 492919"/>
              <a:gd name="connsiteX45" fmla="*/ 773907 w 1252538"/>
              <a:gd name="connsiteY45" fmla="*/ 414338 h 492919"/>
              <a:gd name="connsiteX46" fmla="*/ 759619 w 1252538"/>
              <a:gd name="connsiteY46" fmla="*/ 404813 h 492919"/>
              <a:gd name="connsiteX47" fmla="*/ 752475 w 1252538"/>
              <a:gd name="connsiteY47" fmla="*/ 400050 h 492919"/>
              <a:gd name="connsiteX48" fmla="*/ 747713 w 1252538"/>
              <a:gd name="connsiteY48" fmla="*/ 392907 h 492919"/>
              <a:gd name="connsiteX49" fmla="*/ 740569 w 1252538"/>
              <a:gd name="connsiteY49" fmla="*/ 390525 h 492919"/>
              <a:gd name="connsiteX50" fmla="*/ 733425 w 1252538"/>
              <a:gd name="connsiteY50" fmla="*/ 385763 h 492919"/>
              <a:gd name="connsiteX51" fmla="*/ 714375 w 1252538"/>
              <a:gd name="connsiteY51" fmla="*/ 381000 h 492919"/>
              <a:gd name="connsiteX52" fmla="*/ 707232 w 1252538"/>
              <a:gd name="connsiteY52" fmla="*/ 378619 h 492919"/>
              <a:gd name="connsiteX53" fmla="*/ 690563 w 1252538"/>
              <a:gd name="connsiteY53" fmla="*/ 381000 h 492919"/>
              <a:gd name="connsiteX54" fmla="*/ 692944 w 1252538"/>
              <a:gd name="connsiteY54" fmla="*/ 388144 h 492919"/>
              <a:gd name="connsiteX55" fmla="*/ 700088 w 1252538"/>
              <a:gd name="connsiteY55" fmla="*/ 392907 h 492919"/>
              <a:gd name="connsiteX56" fmla="*/ 709613 w 1252538"/>
              <a:gd name="connsiteY56" fmla="*/ 402432 h 492919"/>
              <a:gd name="connsiteX57" fmla="*/ 728663 w 1252538"/>
              <a:gd name="connsiteY57" fmla="*/ 428625 h 492919"/>
              <a:gd name="connsiteX58" fmla="*/ 731044 w 1252538"/>
              <a:gd name="connsiteY58" fmla="*/ 461963 h 492919"/>
              <a:gd name="connsiteX59" fmla="*/ 723900 w 1252538"/>
              <a:gd name="connsiteY59" fmla="*/ 466725 h 492919"/>
              <a:gd name="connsiteX60" fmla="*/ 709613 w 1252538"/>
              <a:gd name="connsiteY60" fmla="*/ 461963 h 492919"/>
              <a:gd name="connsiteX61" fmla="*/ 707232 w 1252538"/>
              <a:gd name="connsiteY61" fmla="*/ 454819 h 492919"/>
              <a:gd name="connsiteX62" fmla="*/ 702469 w 1252538"/>
              <a:gd name="connsiteY62" fmla="*/ 447675 h 492919"/>
              <a:gd name="connsiteX63" fmla="*/ 688182 w 1252538"/>
              <a:gd name="connsiteY63" fmla="*/ 442913 h 492919"/>
              <a:gd name="connsiteX64" fmla="*/ 671513 w 1252538"/>
              <a:gd name="connsiteY64" fmla="*/ 416719 h 492919"/>
              <a:gd name="connsiteX65" fmla="*/ 650082 w 1252538"/>
              <a:gd name="connsiteY65" fmla="*/ 404813 h 492919"/>
              <a:gd name="connsiteX66" fmla="*/ 642938 w 1252538"/>
              <a:gd name="connsiteY66" fmla="*/ 400050 h 492919"/>
              <a:gd name="connsiteX67" fmla="*/ 609600 w 1252538"/>
              <a:gd name="connsiteY67" fmla="*/ 400050 h 492919"/>
              <a:gd name="connsiteX68" fmla="*/ 609600 w 1252538"/>
              <a:gd name="connsiteY68" fmla="*/ 426244 h 492919"/>
              <a:gd name="connsiteX69" fmla="*/ 616744 w 1252538"/>
              <a:gd name="connsiteY69" fmla="*/ 433388 h 492919"/>
              <a:gd name="connsiteX70" fmla="*/ 631032 w 1252538"/>
              <a:gd name="connsiteY70" fmla="*/ 442913 h 492919"/>
              <a:gd name="connsiteX71" fmla="*/ 657225 w 1252538"/>
              <a:gd name="connsiteY71" fmla="*/ 459582 h 492919"/>
              <a:gd name="connsiteX72" fmla="*/ 664369 w 1252538"/>
              <a:gd name="connsiteY72" fmla="*/ 464344 h 492919"/>
              <a:gd name="connsiteX73" fmla="*/ 671513 w 1252538"/>
              <a:gd name="connsiteY73" fmla="*/ 466725 h 492919"/>
              <a:gd name="connsiteX74" fmla="*/ 673894 w 1252538"/>
              <a:gd name="connsiteY74" fmla="*/ 488157 h 492919"/>
              <a:gd name="connsiteX75" fmla="*/ 666750 w 1252538"/>
              <a:gd name="connsiteY75" fmla="*/ 490538 h 492919"/>
              <a:gd name="connsiteX76" fmla="*/ 642938 w 1252538"/>
              <a:gd name="connsiteY76" fmla="*/ 492919 h 492919"/>
              <a:gd name="connsiteX77" fmla="*/ 616744 w 1252538"/>
              <a:gd name="connsiteY77" fmla="*/ 485775 h 492919"/>
              <a:gd name="connsiteX78" fmla="*/ 609600 w 1252538"/>
              <a:gd name="connsiteY78" fmla="*/ 481013 h 492919"/>
              <a:gd name="connsiteX79" fmla="*/ 600075 w 1252538"/>
              <a:gd name="connsiteY79" fmla="*/ 476250 h 492919"/>
              <a:gd name="connsiteX80" fmla="*/ 592932 w 1252538"/>
              <a:gd name="connsiteY80" fmla="*/ 469107 h 492919"/>
              <a:gd name="connsiteX81" fmla="*/ 585788 w 1252538"/>
              <a:gd name="connsiteY81" fmla="*/ 454819 h 492919"/>
              <a:gd name="connsiteX82" fmla="*/ 581025 w 1252538"/>
              <a:gd name="connsiteY82" fmla="*/ 435769 h 492919"/>
              <a:gd name="connsiteX83" fmla="*/ 578644 w 1252538"/>
              <a:gd name="connsiteY83" fmla="*/ 428625 h 492919"/>
              <a:gd name="connsiteX84" fmla="*/ 576263 w 1252538"/>
              <a:gd name="connsiteY84" fmla="*/ 409575 h 492919"/>
              <a:gd name="connsiteX85" fmla="*/ 569119 w 1252538"/>
              <a:gd name="connsiteY85" fmla="*/ 404813 h 492919"/>
              <a:gd name="connsiteX86" fmla="*/ 554832 w 1252538"/>
              <a:gd name="connsiteY86" fmla="*/ 400050 h 492919"/>
              <a:gd name="connsiteX87" fmla="*/ 547688 w 1252538"/>
              <a:gd name="connsiteY87" fmla="*/ 395288 h 492919"/>
              <a:gd name="connsiteX88" fmla="*/ 540544 w 1252538"/>
              <a:gd name="connsiteY88" fmla="*/ 392907 h 492919"/>
              <a:gd name="connsiteX89" fmla="*/ 533400 w 1252538"/>
              <a:gd name="connsiteY89" fmla="*/ 388144 h 492919"/>
              <a:gd name="connsiteX90" fmla="*/ 519113 w 1252538"/>
              <a:gd name="connsiteY90" fmla="*/ 385763 h 492919"/>
              <a:gd name="connsiteX91" fmla="*/ 514350 w 1252538"/>
              <a:gd name="connsiteY91" fmla="*/ 378619 h 492919"/>
              <a:gd name="connsiteX92" fmla="*/ 514350 w 1252538"/>
              <a:gd name="connsiteY92" fmla="*/ 350044 h 492919"/>
              <a:gd name="connsiteX93" fmla="*/ 521494 w 1252538"/>
              <a:gd name="connsiteY93" fmla="*/ 345282 h 492919"/>
              <a:gd name="connsiteX94" fmla="*/ 531019 w 1252538"/>
              <a:gd name="connsiteY94" fmla="*/ 323850 h 492919"/>
              <a:gd name="connsiteX95" fmla="*/ 521494 w 1252538"/>
              <a:gd name="connsiteY95" fmla="*/ 309563 h 492919"/>
              <a:gd name="connsiteX96" fmla="*/ 507207 w 1252538"/>
              <a:gd name="connsiteY96" fmla="*/ 304800 h 492919"/>
              <a:gd name="connsiteX97" fmla="*/ 490538 w 1252538"/>
              <a:gd name="connsiteY97" fmla="*/ 307182 h 492919"/>
              <a:gd name="connsiteX98" fmla="*/ 476250 w 1252538"/>
              <a:gd name="connsiteY98" fmla="*/ 316707 h 492919"/>
              <a:gd name="connsiteX99" fmla="*/ 469107 w 1252538"/>
              <a:gd name="connsiteY99" fmla="*/ 319088 h 492919"/>
              <a:gd name="connsiteX100" fmla="*/ 452438 w 1252538"/>
              <a:gd name="connsiteY100" fmla="*/ 340519 h 492919"/>
              <a:gd name="connsiteX101" fmla="*/ 447675 w 1252538"/>
              <a:gd name="connsiteY101" fmla="*/ 347663 h 492919"/>
              <a:gd name="connsiteX102" fmla="*/ 445294 w 1252538"/>
              <a:gd name="connsiteY102" fmla="*/ 369094 h 492919"/>
              <a:gd name="connsiteX103" fmla="*/ 452438 w 1252538"/>
              <a:gd name="connsiteY103" fmla="*/ 373857 h 492919"/>
              <a:gd name="connsiteX104" fmla="*/ 454819 w 1252538"/>
              <a:gd name="connsiteY104" fmla="*/ 381000 h 492919"/>
              <a:gd name="connsiteX105" fmla="*/ 447675 w 1252538"/>
              <a:gd name="connsiteY105" fmla="*/ 404813 h 492919"/>
              <a:gd name="connsiteX106" fmla="*/ 445294 w 1252538"/>
              <a:gd name="connsiteY106" fmla="*/ 411957 h 492919"/>
              <a:gd name="connsiteX107" fmla="*/ 440532 w 1252538"/>
              <a:gd name="connsiteY107" fmla="*/ 421482 h 492919"/>
              <a:gd name="connsiteX108" fmla="*/ 442913 w 1252538"/>
              <a:gd name="connsiteY108" fmla="*/ 433388 h 492919"/>
              <a:gd name="connsiteX109" fmla="*/ 445294 w 1252538"/>
              <a:gd name="connsiteY109" fmla="*/ 435769 h 492919"/>
              <a:gd name="connsiteX110" fmla="*/ 490538 w 1252538"/>
              <a:gd name="connsiteY110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16769 w 1252538"/>
              <a:gd name="connsiteY40" fmla="*/ 395288 h 492919"/>
              <a:gd name="connsiteX41" fmla="*/ 814388 w 1252538"/>
              <a:gd name="connsiteY41" fmla="*/ 402432 h 492919"/>
              <a:gd name="connsiteX42" fmla="*/ 809625 w 1252538"/>
              <a:gd name="connsiteY42" fmla="*/ 409575 h 492919"/>
              <a:gd name="connsiteX43" fmla="*/ 795338 w 1252538"/>
              <a:gd name="connsiteY43" fmla="*/ 416719 h 492919"/>
              <a:gd name="connsiteX44" fmla="*/ 773907 w 1252538"/>
              <a:gd name="connsiteY44" fmla="*/ 414338 h 492919"/>
              <a:gd name="connsiteX45" fmla="*/ 759619 w 1252538"/>
              <a:gd name="connsiteY45" fmla="*/ 404813 h 492919"/>
              <a:gd name="connsiteX46" fmla="*/ 752475 w 1252538"/>
              <a:gd name="connsiteY46" fmla="*/ 400050 h 492919"/>
              <a:gd name="connsiteX47" fmla="*/ 747713 w 1252538"/>
              <a:gd name="connsiteY47" fmla="*/ 392907 h 492919"/>
              <a:gd name="connsiteX48" fmla="*/ 740569 w 1252538"/>
              <a:gd name="connsiteY48" fmla="*/ 390525 h 492919"/>
              <a:gd name="connsiteX49" fmla="*/ 733425 w 1252538"/>
              <a:gd name="connsiteY49" fmla="*/ 385763 h 492919"/>
              <a:gd name="connsiteX50" fmla="*/ 714375 w 1252538"/>
              <a:gd name="connsiteY50" fmla="*/ 381000 h 492919"/>
              <a:gd name="connsiteX51" fmla="*/ 707232 w 1252538"/>
              <a:gd name="connsiteY51" fmla="*/ 378619 h 492919"/>
              <a:gd name="connsiteX52" fmla="*/ 690563 w 1252538"/>
              <a:gd name="connsiteY52" fmla="*/ 381000 h 492919"/>
              <a:gd name="connsiteX53" fmla="*/ 692944 w 1252538"/>
              <a:gd name="connsiteY53" fmla="*/ 388144 h 492919"/>
              <a:gd name="connsiteX54" fmla="*/ 700088 w 1252538"/>
              <a:gd name="connsiteY54" fmla="*/ 392907 h 492919"/>
              <a:gd name="connsiteX55" fmla="*/ 709613 w 1252538"/>
              <a:gd name="connsiteY55" fmla="*/ 402432 h 492919"/>
              <a:gd name="connsiteX56" fmla="*/ 728663 w 1252538"/>
              <a:gd name="connsiteY56" fmla="*/ 428625 h 492919"/>
              <a:gd name="connsiteX57" fmla="*/ 731044 w 1252538"/>
              <a:gd name="connsiteY57" fmla="*/ 461963 h 492919"/>
              <a:gd name="connsiteX58" fmla="*/ 723900 w 1252538"/>
              <a:gd name="connsiteY58" fmla="*/ 466725 h 492919"/>
              <a:gd name="connsiteX59" fmla="*/ 709613 w 1252538"/>
              <a:gd name="connsiteY59" fmla="*/ 461963 h 492919"/>
              <a:gd name="connsiteX60" fmla="*/ 707232 w 1252538"/>
              <a:gd name="connsiteY60" fmla="*/ 454819 h 492919"/>
              <a:gd name="connsiteX61" fmla="*/ 702469 w 1252538"/>
              <a:gd name="connsiteY61" fmla="*/ 447675 h 492919"/>
              <a:gd name="connsiteX62" fmla="*/ 688182 w 1252538"/>
              <a:gd name="connsiteY62" fmla="*/ 442913 h 492919"/>
              <a:gd name="connsiteX63" fmla="*/ 671513 w 1252538"/>
              <a:gd name="connsiteY63" fmla="*/ 416719 h 492919"/>
              <a:gd name="connsiteX64" fmla="*/ 650082 w 1252538"/>
              <a:gd name="connsiteY64" fmla="*/ 404813 h 492919"/>
              <a:gd name="connsiteX65" fmla="*/ 642938 w 1252538"/>
              <a:gd name="connsiteY65" fmla="*/ 400050 h 492919"/>
              <a:gd name="connsiteX66" fmla="*/ 609600 w 1252538"/>
              <a:gd name="connsiteY66" fmla="*/ 400050 h 492919"/>
              <a:gd name="connsiteX67" fmla="*/ 609600 w 1252538"/>
              <a:gd name="connsiteY67" fmla="*/ 426244 h 492919"/>
              <a:gd name="connsiteX68" fmla="*/ 616744 w 1252538"/>
              <a:gd name="connsiteY68" fmla="*/ 433388 h 492919"/>
              <a:gd name="connsiteX69" fmla="*/ 631032 w 1252538"/>
              <a:gd name="connsiteY69" fmla="*/ 442913 h 492919"/>
              <a:gd name="connsiteX70" fmla="*/ 657225 w 1252538"/>
              <a:gd name="connsiteY70" fmla="*/ 459582 h 492919"/>
              <a:gd name="connsiteX71" fmla="*/ 664369 w 1252538"/>
              <a:gd name="connsiteY71" fmla="*/ 464344 h 492919"/>
              <a:gd name="connsiteX72" fmla="*/ 671513 w 1252538"/>
              <a:gd name="connsiteY72" fmla="*/ 466725 h 492919"/>
              <a:gd name="connsiteX73" fmla="*/ 673894 w 1252538"/>
              <a:gd name="connsiteY73" fmla="*/ 488157 h 492919"/>
              <a:gd name="connsiteX74" fmla="*/ 666750 w 1252538"/>
              <a:gd name="connsiteY74" fmla="*/ 490538 h 492919"/>
              <a:gd name="connsiteX75" fmla="*/ 642938 w 1252538"/>
              <a:gd name="connsiteY75" fmla="*/ 492919 h 492919"/>
              <a:gd name="connsiteX76" fmla="*/ 616744 w 1252538"/>
              <a:gd name="connsiteY76" fmla="*/ 485775 h 492919"/>
              <a:gd name="connsiteX77" fmla="*/ 609600 w 1252538"/>
              <a:gd name="connsiteY77" fmla="*/ 481013 h 492919"/>
              <a:gd name="connsiteX78" fmla="*/ 600075 w 1252538"/>
              <a:gd name="connsiteY78" fmla="*/ 476250 h 492919"/>
              <a:gd name="connsiteX79" fmla="*/ 592932 w 1252538"/>
              <a:gd name="connsiteY79" fmla="*/ 469107 h 492919"/>
              <a:gd name="connsiteX80" fmla="*/ 585788 w 1252538"/>
              <a:gd name="connsiteY80" fmla="*/ 454819 h 492919"/>
              <a:gd name="connsiteX81" fmla="*/ 581025 w 1252538"/>
              <a:gd name="connsiteY81" fmla="*/ 435769 h 492919"/>
              <a:gd name="connsiteX82" fmla="*/ 578644 w 1252538"/>
              <a:gd name="connsiteY82" fmla="*/ 428625 h 492919"/>
              <a:gd name="connsiteX83" fmla="*/ 576263 w 1252538"/>
              <a:gd name="connsiteY83" fmla="*/ 409575 h 492919"/>
              <a:gd name="connsiteX84" fmla="*/ 569119 w 1252538"/>
              <a:gd name="connsiteY84" fmla="*/ 404813 h 492919"/>
              <a:gd name="connsiteX85" fmla="*/ 554832 w 1252538"/>
              <a:gd name="connsiteY85" fmla="*/ 400050 h 492919"/>
              <a:gd name="connsiteX86" fmla="*/ 547688 w 1252538"/>
              <a:gd name="connsiteY86" fmla="*/ 395288 h 492919"/>
              <a:gd name="connsiteX87" fmla="*/ 540544 w 1252538"/>
              <a:gd name="connsiteY87" fmla="*/ 392907 h 492919"/>
              <a:gd name="connsiteX88" fmla="*/ 533400 w 1252538"/>
              <a:gd name="connsiteY88" fmla="*/ 388144 h 492919"/>
              <a:gd name="connsiteX89" fmla="*/ 519113 w 1252538"/>
              <a:gd name="connsiteY89" fmla="*/ 385763 h 492919"/>
              <a:gd name="connsiteX90" fmla="*/ 514350 w 1252538"/>
              <a:gd name="connsiteY90" fmla="*/ 378619 h 492919"/>
              <a:gd name="connsiteX91" fmla="*/ 514350 w 1252538"/>
              <a:gd name="connsiteY91" fmla="*/ 350044 h 492919"/>
              <a:gd name="connsiteX92" fmla="*/ 521494 w 1252538"/>
              <a:gd name="connsiteY92" fmla="*/ 345282 h 492919"/>
              <a:gd name="connsiteX93" fmla="*/ 531019 w 1252538"/>
              <a:gd name="connsiteY93" fmla="*/ 323850 h 492919"/>
              <a:gd name="connsiteX94" fmla="*/ 521494 w 1252538"/>
              <a:gd name="connsiteY94" fmla="*/ 309563 h 492919"/>
              <a:gd name="connsiteX95" fmla="*/ 507207 w 1252538"/>
              <a:gd name="connsiteY95" fmla="*/ 304800 h 492919"/>
              <a:gd name="connsiteX96" fmla="*/ 490538 w 1252538"/>
              <a:gd name="connsiteY96" fmla="*/ 307182 h 492919"/>
              <a:gd name="connsiteX97" fmla="*/ 476250 w 1252538"/>
              <a:gd name="connsiteY97" fmla="*/ 316707 h 492919"/>
              <a:gd name="connsiteX98" fmla="*/ 469107 w 1252538"/>
              <a:gd name="connsiteY98" fmla="*/ 319088 h 492919"/>
              <a:gd name="connsiteX99" fmla="*/ 452438 w 1252538"/>
              <a:gd name="connsiteY99" fmla="*/ 340519 h 492919"/>
              <a:gd name="connsiteX100" fmla="*/ 447675 w 1252538"/>
              <a:gd name="connsiteY100" fmla="*/ 347663 h 492919"/>
              <a:gd name="connsiteX101" fmla="*/ 445294 w 1252538"/>
              <a:gd name="connsiteY101" fmla="*/ 369094 h 492919"/>
              <a:gd name="connsiteX102" fmla="*/ 452438 w 1252538"/>
              <a:gd name="connsiteY102" fmla="*/ 373857 h 492919"/>
              <a:gd name="connsiteX103" fmla="*/ 454819 w 1252538"/>
              <a:gd name="connsiteY103" fmla="*/ 381000 h 492919"/>
              <a:gd name="connsiteX104" fmla="*/ 447675 w 1252538"/>
              <a:gd name="connsiteY104" fmla="*/ 404813 h 492919"/>
              <a:gd name="connsiteX105" fmla="*/ 445294 w 1252538"/>
              <a:gd name="connsiteY105" fmla="*/ 411957 h 492919"/>
              <a:gd name="connsiteX106" fmla="*/ 440532 w 1252538"/>
              <a:gd name="connsiteY106" fmla="*/ 421482 h 492919"/>
              <a:gd name="connsiteX107" fmla="*/ 442913 w 1252538"/>
              <a:gd name="connsiteY107" fmla="*/ 433388 h 492919"/>
              <a:gd name="connsiteX108" fmla="*/ 445294 w 1252538"/>
              <a:gd name="connsiteY108" fmla="*/ 435769 h 492919"/>
              <a:gd name="connsiteX109" fmla="*/ 490538 w 1252538"/>
              <a:gd name="connsiteY109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16769 w 1252538"/>
              <a:gd name="connsiteY40" fmla="*/ 395288 h 492919"/>
              <a:gd name="connsiteX41" fmla="*/ 814388 w 1252538"/>
              <a:gd name="connsiteY41" fmla="*/ 402432 h 492919"/>
              <a:gd name="connsiteX42" fmla="*/ 809625 w 1252538"/>
              <a:gd name="connsiteY42" fmla="*/ 409575 h 492919"/>
              <a:gd name="connsiteX43" fmla="*/ 795338 w 1252538"/>
              <a:gd name="connsiteY43" fmla="*/ 416719 h 492919"/>
              <a:gd name="connsiteX44" fmla="*/ 773907 w 1252538"/>
              <a:gd name="connsiteY44" fmla="*/ 414338 h 492919"/>
              <a:gd name="connsiteX45" fmla="*/ 759619 w 1252538"/>
              <a:gd name="connsiteY45" fmla="*/ 404813 h 492919"/>
              <a:gd name="connsiteX46" fmla="*/ 752475 w 1252538"/>
              <a:gd name="connsiteY46" fmla="*/ 400050 h 492919"/>
              <a:gd name="connsiteX47" fmla="*/ 747713 w 1252538"/>
              <a:gd name="connsiteY47" fmla="*/ 392907 h 492919"/>
              <a:gd name="connsiteX48" fmla="*/ 740569 w 1252538"/>
              <a:gd name="connsiteY48" fmla="*/ 390525 h 492919"/>
              <a:gd name="connsiteX49" fmla="*/ 733425 w 1252538"/>
              <a:gd name="connsiteY49" fmla="*/ 385763 h 492919"/>
              <a:gd name="connsiteX50" fmla="*/ 714375 w 1252538"/>
              <a:gd name="connsiteY50" fmla="*/ 381000 h 492919"/>
              <a:gd name="connsiteX51" fmla="*/ 707232 w 1252538"/>
              <a:gd name="connsiteY51" fmla="*/ 378619 h 492919"/>
              <a:gd name="connsiteX52" fmla="*/ 690563 w 1252538"/>
              <a:gd name="connsiteY52" fmla="*/ 381000 h 492919"/>
              <a:gd name="connsiteX53" fmla="*/ 692944 w 1252538"/>
              <a:gd name="connsiteY53" fmla="*/ 388144 h 492919"/>
              <a:gd name="connsiteX54" fmla="*/ 700088 w 1252538"/>
              <a:gd name="connsiteY54" fmla="*/ 392907 h 492919"/>
              <a:gd name="connsiteX55" fmla="*/ 709613 w 1252538"/>
              <a:gd name="connsiteY55" fmla="*/ 402432 h 492919"/>
              <a:gd name="connsiteX56" fmla="*/ 728663 w 1252538"/>
              <a:gd name="connsiteY56" fmla="*/ 428625 h 492919"/>
              <a:gd name="connsiteX57" fmla="*/ 731044 w 1252538"/>
              <a:gd name="connsiteY57" fmla="*/ 461963 h 492919"/>
              <a:gd name="connsiteX58" fmla="*/ 723900 w 1252538"/>
              <a:gd name="connsiteY58" fmla="*/ 466725 h 492919"/>
              <a:gd name="connsiteX59" fmla="*/ 709613 w 1252538"/>
              <a:gd name="connsiteY59" fmla="*/ 461963 h 492919"/>
              <a:gd name="connsiteX60" fmla="*/ 707232 w 1252538"/>
              <a:gd name="connsiteY60" fmla="*/ 454819 h 492919"/>
              <a:gd name="connsiteX61" fmla="*/ 702469 w 1252538"/>
              <a:gd name="connsiteY61" fmla="*/ 447675 h 492919"/>
              <a:gd name="connsiteX62" fmla="*/ 688182 w 1252538"/>
              <a:gd name="connsiteY62" fmla="*/ 442913 h 492919"/>
              <a:gd name="connsiteX63" fmla="*/ 671513 w 1252538"/>
              <a:gd name="connsiteY63" fmla="*/ 416719 h 492919"/>
              <a:gd name="connsiteX64" fmla="*/ 650082 w 1252538"/>
              <a:gd name="connsiteY64" fmla="*/ 404813 h 492919"/>
              <a:gd name="connsiteX65" fmla="*/ 642938 w 1252538"/>
              <a:gd name="connsiteY65" fmla="*/ 400050 h 492919"/>
              <a:gd name="connsiteX66" fmla="*/ 609600 w 1252538"/>
              <a:gd name="connsiteY66" fmla="*/ 400050 h 492919"/>
              <a:gd name="connsiteX67" fmla="*/ 609600 w 1252538"/>
              <a:gd name="connsiteY67" fmla="*/ 426244 h 492919"/>
              <a:gd name="connsiteX68" fmla="*/ 616744 w 1252538"/>
              <a:gd name="connsiteY68" fmla="*/ 433388 h 492919"/>
              <a:gd name="connsiteX69" fmla="*/ 631032 w 1252538"/>
              <a:gd name="connsiteY69" fmla="*/ 442913 h 492919"/>
              <a:gd name="connsiteX70" fmla="*/ 657225 w 1252538"/>
              <a:gd name="connsiteY70" fmla="*/ 459582 h 492919"/>
              <a:gd name="connsiteX71" fmla="*/ 664369 w 1252538"/>
              <a:gd name="connsiteY71" fmla="*/ 464344 h 492919"/>
              <a:gd name="connsiteX72" fmla="*/ 671513 w 1252538"/>
              <a:gd name="connsiteY72" fmla="*/ 466725 h 492919"/>
              <a:gd name="connsiteX73" fmla="*/ 673894 w 1252538"/>
              <a:gd name="connsiteY73" fmla="*/ 488157 h 492919"/>
              <a:gd name="connsiteX74" fmla="*/ 666750 w 1252538"/>
              <a:gd name="connsiteY74" fmla="*/ 490538 h 492919"/>
              <a:gd name="connsiteX75" fmla="*/ 642938 w 1252538"/>
              <a:gd name="connsiteY75" fmla="*/ 492919 h 492919"/>
              <a:gd name="connsiteX76" fmla="*/ 616744 w 1252538"/>
              <a:gd name="connsiteY76" fmla="*/ 485775 h 492919"/>
              <a:gd name="connsiteX77" fmla="*/ 609600 w 1252538"/>
              <a:gd name="connsiteY77" fmla="*/ 481013 h 492919"/>
              <a:gd name="connsiteX78" fmla="*/ 600075 w 1252538"/>
              <a:gd name="connsiteY78" fmla="*/ 476250 h 492919"/>
              <a:gd name="connsiteX79" fmla="*/ 592932 w 1252538"/>
              <a:gd name="connsiteY79" fmla="*/ 469107 h 492919"/>
              <a:gd name="connsiteX80" fmla="*/ 585788 w 1252538"/>
              <a:gd name="connsiteY80" fmla="*/ 454819 h 492919"/>
              <a:gd name="connsiteX81" fmla="*/ 581025 w 1252538"/>
              <a:gd name="connsiteY81" fmla="*/ 442913 h 492919"/>
              <a:gd name="connsiteX82" fmla="*/ 581025 w 1252538"/>
              <a:gd name="connsiteY82" fmla="*/ 435769 h 492919"/>
              <a:gd name="connsiteX83" fmla="*/ 578644 w 1252538"/>
              <a:gd name="connsiteY83" fmla="*/ 428625 h 492919"/>
              <a:gd name="connsiteX84" fmla="*/ 576263 w 1252538"/>
              <a:gd name="connsiteY84" fmla="*/ 409575 h 492919"/>
              <a:gd name="connsiteX85" fmla="*/ 569119 w 1252538"/>
              <a:gd name="connsiteY85" fmla="*/ 404813 h 492919"/>
              <a:gd name="connsiteX86" fmla="*/ 554832 w 1252538"/>
              <a:gd name="connsiteY86" fmla="*/ 400050 h 492919"/>
              <a:gd name="connsiteX87" fmla="*/ 547688 w 1252538"/>
              <a:gd name="connsiteY87" fmla="*/ 395288 h 492919"/>
              <a:gd name="connsiteX88" fmla="*/ 540544 w 1252538"/>
              <a:gd name="connsiteY88" fmla="*/ 392907 h 492919"/>
              <a:gd name="connsiteX89" fmla="*/ 533400 w 1252538"/>
              <a:gd name="connsiteY89" fmla="*/ 388144 h 492919"/>
              <a:gd name="connsiteX90" fmla="*/ 519113 w 1252538"/>
              <a:gd name="connsiteY90" fmla="*/ 385763 h 492919"/>
              <a:gd name="connsiteX91" fmla="*/ 514350 w 1252538"/>
              <a:gd name="connsiteY91" fmla="*/ 378619 h 492919"/>
              <a:gd name="connsiteX92" fmla="*/ 514350 w 1252538"/>
              <a:gd name="connsiteY92" fmla="*/ 350044 h 492919"/>
              <a:gd name="connsiteX93" fmla="*/ 521494 w 1252538"/>
              <a:gd name="connsiteY93" fmla="*/ 345282 h 492919"/>
              <a:gd name="connsiteX94" fmla="*/ 531019 w 1252538"/>
              <a:gd name="connsiteY94" fmla="*/ 323850 h 492919"/>
              <a:gd name="connsiteX95" fmla="*/ 521494 w 1252538"/>
              <a:gd name="connsiteY95" fmla="*/ 309563 h 492919"/>
              <a:gd name="connsiteX96" fmla="*/ 507207 w 1252538"/>
              <a:gd name="connsiteY96" fmla="*/ 304800 h 492919"/>
              <a:gd name="connsiteX97" fmla="*/ 490538 w 1252538"/>
              <a:gd name="connsiteY97" fmla="*/ 307182 h 492919"/>
              <a:gd name="connsiteX98" fmla="*/ 476250 w 1252538"/>
              <a:gd name="connsiteY98" fmla="*/ 316707 h 492919"/>
              <a:gd name="connsiteX99" fmla="*/ 469107 w 1252538"/>
              <a:gd name="connsiteY99" fmla="*/ 319088 h 492919"/>
              <a:gd name="connsiteX100" fmla="*/ 452438 w 1252538"/>
              <a:gd name="connsiteY100" fmla="*/ 340519 h 492919"/>
              <a:gd name="connsiteX101" fmla="*/ 447675 w 1252538"/>
              <a:gd name="connsiteY101" fmla="*/ 347663 h 492919"/>
              <a:gd name="connsiteX102" fmla="*/ 445294 w 1252538"/>
              <a:gd name="connsiteY102" fmla="*/ 369094 h 492919"/>
              <a:gd name="connsiteX103" fmla="*/ 452438 w 1252538"/>
              <a:gd name="connsiteY103" fmla="*/ 373857 h 492919"/>
              <a:gd name="connsiteX104" fmla="*/ 454819 w 1252538"/>
              <a:gd name="connsiteY104" fmla="*/ 381000 h 492919"/>
              <a:gd name="connsiteX105" fmla="*/ 447675 w 1252538"/>
              <a:gd name="connsiteY105" fmla="*/ 404813 h 492919"/>
              <a:gd name="connsiteX106" fmla="*/ 445294 w 1252538"/>
              <a:gd name="connsiteY106" fmla="*/ 411957 h 492919"/>
              <a:gd name="connsiteX107" fmla="*/ 440532 w 1252538"/>
              <a:gd name="connsiteY107" fmla="*/ 421482 h 492919"/>
              <a:gd name="connsiteX108" fmla="*/ 442913 w 1252538"/>
              <a:gd name="connsiteY108" fmla="*/ 433388 h 492919"/>
              <a:gd name="connsiteX109" fmla="*/ 445294 w 1252538"/>
              <a:gd name="connsiteY109" fmla="*/ 435769 h 492919"/>
              <a:gd name="connsiteX110" fmla="*/ 490538 w 1252538"/>
              <a:gd name="connsiteY110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16769 w 1252538"/>
              <a:gd name="connsiteY40" fmla="*/ 395288 h 492919"/>
              <a:gd name="connsiteX41" fmla="*/ 814388 w 1252538"/>
              <a:gd name="connsiteY41" fmla="*/ 402432 h 492919"/>
              <a:gd name="connsiteX42" fmla="*/ 809625 w 1252538"/>
              <a:gd name="connsiteY42" fmla="*/ 409575 h 492919"/>
              <a:gd name="connsiteX43" fmla="*/ 795338 w 1252538"/>
              <a:gd name="connsiteY43" fmla="*/ 416719 h 492919"/>
              <a:gd name="connsiteX44" fmla="*/ 773907 w 1252538"/>
              <a:gd name="connsiteY44" fmla="*/ 414338 h 492919"/>
              <a:gd name="connsiteX45" fmla="*/ 759619 w 1252538"/>
              <a:gd name="connsiteY45" fmla="*/ 404813 h 492919"/>
              <a:gd name="connsiteX46" fmla="*/ 752475 w 1252538"/>
              <a:gd name="connsiteY46" fmla="*/ 400050 h 492919"/>
              <a:gd name="connsiteX47" fmla="*/ 747713 w 1252538"/>
              <a:gd name="connsiteY47" fmla="*/ 392907 h 492919"/>
              <a:gd name="connsiteX48" fmla="*/ 740569 w 1252538"/>
              <a:gd name="connsiteY48" fmla="*/ 390525 h 492919"/>
              <a:gd name="connsiteX49" fmla="*/ 733425 w 1252538"/>
              <a:gd name="connsiteY49" fmla="*/ 385763 h 492919"/>
              <a:gd name="connsiteX50" fmla="*/ 714375 w 1252538"/>
              <a:gd name="connsiteY50" fmla="*/ 381000 h 492919"/>
              <a:gd name="connsiteX51" fmla="*/ 707232 w 1252538"/>
              <a:gd name="connsiteY51" fmla="*/ 378619 h 492919"/>
              <a:gd name="connsiteX52" fmla="*/ 690563 w 1252538"/>
              <a:gd name="connsiteY52" fmla="*/ 381000 h 492919"/>
              <a:gd name="connsiteX53" fmla="*/ 692944 w 1252538"/>
              <a:gd name="connsiteY53" fmla="*/ 388144 h 492919"/>
              <a:gd name="connsiteX54" fmla="*/ 700088 w 1252538"/>
              <a:gd name="connsiteY54" fmla="*/ 392907 h 492919"/>
              <a:gd name="connsiteX55" fmla="*/ 709613 w 1252538"/>
              <a:gd name="connsiteY55" fmla="*/ 402432 h 492919"/>
              <a:gd name="connsiteX56" fmla="*/ 728663 w 1252538"/>
              <a:gd name="connsiteY56" fmla="*/ 428625 h 492919"/>
              <a:gd name="connsiteX57" fmla="*/ 731044 w 1252538"/>
              <a:gd name="connsiteY57" fmla="*/ 461963 h 492919"/>
              <a:gd name="connsiteX58" fmla="*/ 723900 w 1252538"/>
              <a:gd name="connsiteY58" fmla="*/ 466725 h 492919"/>
              <a:gd name="connsiteX59" fmla="*/ 709613 w 1252538"/>
              <a:gd name="connsiteY59" fmla="*/ 461963 h 492919"/>
              <a:gd name="connsiteX60" fmla="*/ 707232 w 1252538"/>
              <a:gd name="connsiteY60" fmla="*/ 454819 h 492919"/>
              <a:gd name="connsiteX61" fmla="*/ 702469 w 1252538"/>
              <a:gd name="connsiteY61" fmla="*/ 447675 h 492919"/>
              <a:gd name="connsiteX62" fmla="*/ 688182 w 1252538"/>
              <a:gd name="connsiteY62" fmla="*/ 442913 h 492919"/>
              <a:gd name="connsiteX63" fmla="*/ 671513 w 1252538"/>
              <a:gd name="connsiteY63" fmla="*/ 416719 h 492919"/>
              <a:gd name="connsiteX64" fmla="*/ 650082 w 1252538"/>
              <a:gd name="connsiteY64" fmla="*/ 404813 h 492919"/>
              <a:gd name="connsiteX65" fmla="*/ 642938 w 1252538"/>
              <a:gd name="connsiteY65" fmla="*/ 400050 h 492919"/>
              <a:gd name="connsiteX66" fmla="*/ 609600 w 1252538"/>
              <a:gd name="connsiteY66" fmla="*/ 400050 h 492919"/>
              <a:gd name="connsiteX67" fmla="*/ 609600 w 1252538"/>
              <a:gd name="connsiteY67" fmla="*/ 426244 h 492919"/>
              <a:gd name="connsiteX68" fmla="*/ 616744 w 1252538"/>
              <a:gd name="connsiteY68" fmla="*/ 433388 h 492919"/>
              <a:gd name="connsiteX69" fmla="*/ 631032 w 1252538"/>
              <a:gd name="connsiteY69" fmla="*/ 442913 h 492919"/>
              <a:gd name="connsiteX70" fmla="*/ 657225 w 1252538"/>
              <a:gd name="connsiteY70" fmla="*/ 459582 h 492919"/>
              <a:gd name="connsiteX71" fmla="*/ 664369 w 1252538"/>
              <a:gd name="connsiteY71" fmla="*/ 464344 h 492919"/>
              <a:gd name="connsiteX72" fmla="*/ 671513 w 1252538"/>
              <a:gd name="connsiteY72" fmla="*/ 466725 h 492919"/>
              <a:gd name="connsiteX73" fmla="*/ 673894 w 1252538"/>
              <a:gd name="connsiteY73" fmla="*/ 488157 h 492919"/>
              <a:gd name="connsiteX74" fmla="*/ 666750 w 1252538"/>
              <a:gd name="connsiteY74" fmla="*/ 490538 h 492919"/>
              <a:gd name="connsiteX75" fmla="*/ 642938 w 1252538"/>
              <a:gd name="connsiteY75" fmla="*/ 492919 h 492919"/>
              <a:gd name="connsiteX76" fmla="*/ 616744 w 1252538"/>
              <a:gd name="connsiteY76" fmla="*/ 485775 h 492919"/>
              <a:gd name="connsiteX77" fmla="*/ 609600 w 1252538"/>
              <a:gd name="connsiteY77" fmla="*/ 481013 h 492919"/>
              <a:gd name="connsiteX78" fmla="*/ 600075 w 1252538"/>
              <a:gd name="connsiteY78" fmla="*/ 476250 h 492919"/>
              <a:gd name="connsiteX79" fmla="*/ 592932 w 1252538"/>
              <a:gd name="connsiteY79" fmla="*/ 469107 h 492919"/>
              <a:gd name="connsiteX80" fmla="*/ 585788 w 1252538"/>
              <a:gd name="connsiteY80" fmla="*/ 454819 h 492919"/>
              <a:gd name="connsiteX81" fmla="*/ 581025 w 1252538"/>
              <a:gd name="connsiteY81" fmla="*/ 442913 h 492919"/>
              <a:gd name="connsiteX82" fmla="*/ 578644 w 1252538"/>
              <a:gd name="connsiteY82" fmla="*/ 428625 h 492919"/>
              <a:gd name="connsiteX83" fmla="*/ 576263 w 1252538"/>
              <a:gd name="connsiteY83" fmla="*/ 409575 h 492919"/>
              <a:gd name="connsiteX84" fmla="*/ 569119 w 1252538"/>
              <a:gd name="connsiteY84" fmla="*/ 404813 h 492919"/>
              <a:gd name="connsiteX85" fmla="*/ 554832 w 1252538"/>
              <a:gd name="connsiteY85" fmla="*/ 400050 h 492919"/>
              <a:gd name="connsiteX86" fmla="*/ 547688 w 1252538"/>
              <a:gd name="connsiteY86" fmla="*/ 395288 h 492919"/>
              <a:gd name="connsiteX87" fmla="*/ 540544 w 1252538"/>
              <a:gd name="connsiteY87" fmla="*/ 392907 h 492919"/>
              <a:gd name="connsiteX88" fmla="*/ 533400 w 1252538"/>
              <a:gd name="connsiteY88" fmla="*/ 388144 h 492919"/>
              <a:gd name="connsiteX89" fmla="*/ 519113 w 1252538"/>
              <a:gd name="connsiteY89" fmla="*/ 385763 h 492919"/>
              <a:gd name="connsiteX90" fmla="*/ 514350 w 1252538"/>
              <a:gd name="connsiteY90" fmla="*/ 378619 h 492919"/>
              <a:gd name="connsiteX91" fmla="*/ 514350 w 1252538"/>
              <a:gd name="connsiteY91" fmla="*/ 350044 h 492919"/>
              <a:gd name="connsiteX92" fmla="*/ 521494 w 1252538"/>
              <a:gd name="connsiteY92" fmla="*/ 345282 h 492919"/>
              <a:gd name="connsiteX93" fmla="*/ 531019 w 1252538"/>
              <a:gd name="connsiteY93" fmla="*/ 323850 h 492919"/>
              <a:gd name="connsiteX94" fmla="*/ 521494 w 1252538"/>
              <a:gd name="connsiteY94" fmla="*/ 309563 h 492919"/>
              <a:gd name="connsiteX95" fmla="*/ 507207 w 1252538"/>
              <a:gd name="connsiteY95" fmla="*/ 304800 h 492919"/>
              <a:gd name="connsiteX96" fmla="*/ 490538 w 1252538"/>
              <a:gd name="connsiteY96" fmla="*/ 307182 h 492919"/>
              <a:gd name="connsiteX97" fmla="*/ 476250 w 1252538"/>
              <a:gd name="connsiteY97" fmla="*/ 316707 h 492919"/>
              <a:gd name="connsiteX98" fmla="*/ 469107 w 1252538"/>
              <a:gd name="connsiteY98" fmla="*/ 319088 h 492919"/>
              <a:gd name="connsiteX99" fmla="*/ 452438 w 1252538"/>
              <a:gd name="connsiteY99" fmla="*/ 340519 h 492919"/>
              <a:gd name="connsiteX100" fmla="*/ 447675 w 1252538"/>
              <a:gd name="connsiteY100" fmla="*/ 347663 h 492919"/>
              <a:gd name="connsiteX101" fmla="*/ 445294 w 1252538"/>
              <a:gd name="connsiteY101" fmla="*/ 369094 h 492919"/>
              <a:gd name="connsiteX102" fmla="*/ 452438 w 1252538"/>
              <a:gd name="connsiteY102" fmla="*/ 373857 h 492919"/>
              <a:gd name="connsiteX103" fmla="*/ 454819 w 1252538"/>
              <a:gd name="connsiteY103" fmla="*/ 381000 h 492919"/>
              <a:gd name="connsiteX104" fmla="*/ 447675 w 1252538"/>
              <a:gd name="connsiteY104" fmla="*/ 404813 h 492919"/>
              <a:gd name="connsiteX105" fmla="*/ 445294 w 1252538"/>
              <a:gd name="connsiteY105" fmla="*/ 411957 h 492919"/>
              <a:gd name="connsiteX106" fmla="*/ 440532 w 1252538"/>
              <a:gd name="connsiteY106" fmla="*/ 421482 h 492919"/>
              <a:gd name="connsiteX107" fmla="*/ 442913 w 1252538"/>
              <a:gd name="connsiteY107" fmla="*/ 433388 h 492919"/>
              <a:gd name="connsiteX108" fmla="*/ 445294 w 1252538"/>
              <a:gd name="connsiteY108" fmla="*/ 435769 h 492919"/>
              <a:gd name="connsiteX109" fmla="*/ 490538 w 1252538"/>
              <a:gd name="connsiteY109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16769 w 1252538"/>
              <a:gd name="connsiteY40" fmla="*/ 395288 h 492919"/>
              <a:gd name="connsiteX41" fmla="*/ 814388 w 1252538"/>
              <a:gd name="connsiteY41" fmla="*/ 402432 h 492919"/>
              <a:gd name="connsiteX42" fmla="*/ 809625 w 1252538"/>
              <a:gd name="connsiteY42" fmla="*/ 409575 h 492919"/>
              <a:gd name="connsiteX43" fmla="*/ 795338 w 1252538"/>
              <a:gd name="connsiteY43" fmla="*/ 416719 h 492919"/>
              <a:gd name="connsiteX44" fmla="*/ 773907 w 1252538"/>
              <a:gd name="connsiteY44" fmla="*/ 414338 h 492919"/>
              <a:gd name="connsiteX45" fmla="*/ 759619 w 1252538"/>
              <a:gd name="connsiteY45" fmla="*/ 404813 h 492919"/>
              <a:gd name="connsiteX46" fmla="*/ 752475 w 1252538"/>
              <a:gd name="connsiteY46" fmla="*/ 400050 h 492919"/>
              <a:gd name="connsiteX47" fmla="*/ 747713 w 1252538"/>
              <a:gd name="connsiteY47" fmla="*/ 392907 h 492919"/>
              <a:gd name="connsiteX48" fmla="*/ 740569 w 1252538"/>
              <a:gd name="connsiteY48" fmla="*/ 390525 h 492919"/>
              <a:gd name="connsiteX49" fmla="*/ 733425 w 1252538"/>
              <a:gd name="connsiteY49" fmla="*/ 385763 h 492919"/>
              <a:gd name="connsiteX50" fmla="*/ 714375 w 1252538"/>
              <a:gd name="connsiteY50" fmla="*/ 381000 h 492919"/>
              <a:gd name="connsiteX51" fmla="*/ 707232 w 1252538"/>
              <a:gd name="connsiteY51" fmla="*/ 378619 h 492919"/>
              <a:gd name="connsiteX52" fmla="*/ 690563 w 1252538"/>
              <a:gd name="connsiteY52" fmla="*/ 381000 h 492919"/>
              <a:gd name="connsiteX53" fmla="*/ 692944 w 1252538"/>
              <a:gd name="connsiteY53" fmla="*/ 388144 h 492919"/>
              <a:gd name="connsiteX54" fmla="*/ 700088 w 1252538"/>
              <a:gd name="connsiteY54" fmla="*/ 392907 h 492919"/>
              <a:gd name="connsiteX55" fmla="*/ 709613 w 1252538"/>
              <a:gd name="connsiteY55" fmla="*/ 402432 h 492919"/>
              <a:gd name="connsiteX56" fmla="*/ 728663 w 1252538"/>
              <a:gd name="connsiteY56" fmla="*/ 428625 h 492919"/>
              <a:gd name="connsiteX57" fmla="*/ 731044 w 1252538"/>
              <a:gd name="connsiteY57" fmla="*/ 461963 h 492919"/>
              <a:gd name="connsiteX58" fmla="*/ 723900 w 1252538"/>
              <a:gd name="connsiteY58" fmla="*/ 466725 h 492919"/>
              <a:gd name="connsiteX59" fmla="*/ 709613 w 1252538"/>
              <a:gd name="connsiteY59" fmla="*/ 461963 h 492919"/>
              <a:gd name="connsiteX60" fmla="*/ 707232 w 1252538"/>
              <a:gd name="connsiteY60" fmla="*/ 454819 h 492919"/>
              <a:gd name="connsiteX61" fmla="*/ 702469 w 1252538"/>
              <a:gd name="connsiteY61" fmla="*/ 447675 h 492919"/>
              <a:gd name="connsiteX62" fmla="*/ 688182 w 1252538"/>
              <a:gd name="connsiteY62" fmla="*/ 442913 h 492919"/>
              <a:gd name="connsiteX63" fmla="*/ 671513 w 1252538"/>
              <a:gd name="connsiteY63" fmla="*/ 416719 h 492919"/>
              <a:gd name="connsiteX64" fmla="*/ 650082 w 1252538"/>
              <a:gd name="connsiteY64" fmla="*/ 404813 h 492919"/>
              <a:gd name="connsiteX65" fmla="*/ 642938 w 1252538"/>
              <a:gd name="connsiteY65" fmla="*/ 400050 h 492919"/>
              <a:gd name="connsiteX66" fmla="*/ 609600 w 1252538"/>
              <a:gd name="connsiteY66" fmla="*/ 400050 h 492919"/>
              <a:gd name="connsiteX67" fmla="*/ 609600 w 1252538"/>
              <a:gd name="connsiteY67" fmla="*/ 426244 h 492919"/>
              <a:gd name="connsiteX68" fmla="*/ 616744 w 1252538"/>
              <a:gd name="connsiteY68" fmla="*/ 433388 h 492919"/>
              <a:gd name="connsiteX69" fmla="*/ 631032 w 1252538"/>
              <a:gd name="connsiteY69" fmla="*/ 442913 h 492919"/>
              <a:gd name="connsiteX70" fmla="*/ 657225 w 1252538"/>
              <a:gd name="connsiteY70" fmla="*/ 459582 h 492919"/>
              <a:gd name="connsiteX71" fmla="*/ 664369 w 1252538"/>
              <a:gd name="connsiteY71" fmla="*/ 464344 h 492919"/>
              <a:gd name="connsiteX72" fmla="*/ 671513 w 1252538"/>
              <a:gd name="connsiteY72" fmla="*/ 466725 h 492919"/>
              <a:gd name="connsiteX73" fmla="*/ 673894 w 1252538"/>
              <a:gd name="connsiteY73" fmla="*/ 488157 h 492919"/>
              <a:gd name="connsiteX74" fmla="*/ 666750 w 1252538"/>
              <a:gd name="connsiteY74" fmla="*/ 490538 h 492919"/>
              <a:gd name="connsiteX75" fmla="*/ 642938 w 1252538"/>
              <a:gd name="connsiteY75" fmla="*/ 492919 h 492919"/>
              <a:gd name="connsiteX76" fmla="*/ 616744 w 1252538"/>
              <a:gd name="connsiteY76" fmla="*/ 485775 h 492919"/>
              <a:gd name="connsiteX77" fmla="*/ 609600 w 1252538"/>
              <a:gd name="connsiteY77" fmla="*/ 481013 h 492919"/>
              <a:gd name="connsiteX78" fmla="*/ 600075 w 1252538"/>
              <a:gd name="connsiteY78" fmla="*/ 476250 h 492919"/>
              <a:gd name="connsiteX79" fmla="*/ 592932 w 1252538"/>
              <a:gd name="connsiteY79" fmla="*/ 469107 h 492919"/>
              <a:gd name="connsiteX80" fmla="*/ 585788 w 1252538"/>
              <a:gd name="connsiteY80" fmla="*/ 454819 h 492919"/>
              <a:gd name="connsiteX81" fmla="*/ 578644 w 1252538"/>
              <a:gd name="connsiteY81" fmla="*/ 428625 h 492919"/>
              <a:gd name="connsiteX82" fmla="*/ 576263 w 1252538"/>
              <a:gd name="connsiteY82" fmla="*/ 409575 h 492919"/>
              <a:gd name="connsiteX83" fmla="*/ 569119 w 1252538"/>
              <a:gd name="connsiteY83" fmla="*/ 404813 h 492919"/>
              <a:gd name="connsiteX84" fmla="*/ 554832 w 1252538"/>
              <a:gd name="connsiteY84" fmla="*/ 400050 h 492919"/>
              <a:gd name="connsiteX85" fmla="*/ 547688 w 1252538"/>
              <a:gd name="connsiteY85" fmla="*/ 395288 h 492919"/>
              <a:gd name="connsiteX86" fmla="*/ 540544 w 1252538"/>
              <a:gd name="connsiteY86" fmla="*/ 392907 h 492919"/>
              <a:gd name="connsiteX87" fmla="*/ 533400 w 1252538"/>
              <a:gd name="connsiteY87" fmla="*/ 388144 h 492919"/>
              <a:gd name="connsiteX88" fmla="*/ 519113 w 1252538"/>
              <a:gd name="connsiteY88" fmla="*/ 385763 h 492919"/>
              <a:gd name="connsiteX89" fmla="*/ 514350 w 1252538"/>
              <a:gd name="connsiteY89" fmla="*/ 378619 h 492919"/>
              <a:gd name="connsiteX90" fmla="*/ 514350 w 1252538"/>
              <a:gd name="connsiteY90" fmla="*/ 350044 h 492919"/>
              <a:gd name="connsiteX91" fmla="*/ 521494 w 1252538"/>
              <a:gd name="connsiteY91" fmla="*/ 345282 h 492919"/>
              <a:gd name="connsiteX92" fmla="*/ 531019 w 1252538"/>
              <a:gd name="connsiteY92" fmla="*/ 323850 h 492919"/>
              <a:gd name="connsiteX93" fmla="*/ 521494 w 1252538"/>
              <a:gd name="connsiteY93" fmla="*/ 309563 h 492919"/>
              <a:gd name="connsiteX94" fmla="*/ 507207 w 1252538"/>
              <a:gd name="connsiteY94" fmla="*/ 304800 h 492919"/>
              <a:gd name="connsiteX95" fmla="*/ 490538 w 1252538"/>
              <a:gd name="connsiteY95" fmla="*/ 307182 h 492919"/>
              <a:gd name="connsiteX96" fmla="*/ 476250 w 1252538"/>
              <a:gd name="connsiteY96" fmla="*/ 316707 h 492919"/>
              <a:gd name="connsiteX97" fmla="*/ 469107 w 1252538"/>
              <a:gd name="connsiteY97" fmla="*/ 319088 h 492919"/>
              <a:gd name="connsiteX98" fmla="*/ 452438 w 1252538"/>
              <a:gd name="connsiteY98" fmla="*/ 340519 h 492919"/>
              <a:gd name="connsiteX99" fmla="*/ 447675 w 1252538"/>
              <a:gd name="connsiteY99" fmla="*/ 347663 h 492919"/>
              <a:gd name="connsiteX100" fmla="*/ 445294 w 1252538"/>
              <a:gd name="connsiteY100" fmla="*/ 369094 h 492919"/>
              <a:gd name="connsiteX101" fmla="*/ 452438 w 1252538"/>
              <a:gd name="connsiteY101" fmla="*/ 373857 h 492919"/>
              <a:gd name="connsiteX102" fmla="*/ 454819 w 1252538"/>
              <a:gd name="connsiteY102" fmla="*/ 381000 h 492919"/>
              <a:gd name="connsiteX103" fmla="*/ 447675 w 1252538"/>
              <a:gd name="connsiteY103" fmla="*/ 404813 h 492919"/>
              <a:gd name="connsiteX104" fmla="*/ 445294 w 1252538"/>
              <a:gd name="connsiteY104" fmla="*/ 411957 h 492919"/>
              <a:gd name="connsiteX105" fmla="*/ 440532 w 1252538"/>
              <a:gd name="connsiteY105" fmla="*/ 421482 h 492919"/>
              <a:gd name="connsiteX106" fmla="*/ 442913 w 1252538"/>
              <a:gd name="connsiteY106" fmla="*/ 433388 h 492919"/>
              <a:gd name="connsiteX107" fmla="*/ 445294 w 1252538"/>
              <a:gd name="connsiteY107" fmla="*/ 435769 h 492919"/>
              <a:gd name="connsiteX108" fmla="*/ 490538 w 1252538"/>
              <a:gd name="connsiteY108" fmla="*/ 488157 h 492919"/>
              <a:gd name="connsiteX0" fmla="*/ 0 w 1252538"/>
              <a:gd name="connsiteY0" fmla="*/ 488157 h 492919"/>
              <a:gd name="connsiteX1" fmla="*/ 59532 w 1252538"/>
              <a:gd name="connsiteY1" fmla="*/ 433388 h 492919"/>
              <a:gd name="connsiteX2" fmla="*/ 114300 w 1252538"/>
              <a:gd name="connsiteY2" fmla="*/ 369094 h 492919"/>
              <a:gd name="connsiteX3" fmla="*/ 123825 w 1252538"/>
              <a:gd name="connsiteY3" fmla="*/ 283369 h 492919"/>
              <a:gd name="connsiteX4" fmla="*/ 271463 w 1252538"/>
              <a:gd name="connsiteY4" fmla="*/ 216694 h 492919"/>
              <a:gd name="connsiteX5" fmla="*/ 459582 w 1252538"/>
              <a:gd name="connsiteY5" fmla="*/ 188119 h 492919"/>
              <a:gd name="connsiteX6" fmla="*/ 669132 w 1252538"/>
              <a:gd name="connsiteY6" fmla="*/ 116682 h 492919"/>
              <a:gd name="connsiteX7" fmla="*/ 814388 w 1252538"/>
              <a:gd name="connsiteY7" fmla="*/ 90488 h 492919"/>
              <a:gd name="connsiteX8" fmla="*/ 964407 w 1252538"/>
              <a:gd name="connsiteY8" fmla="*/ 130969 h 492919"/>
              <a:gd name="connsiteX9" fmla="*/ 1076325 w 1252538"/>
              <a:gd name="connsiteY9" fmla="*/ 61913 h 492919"/>
              <a:gd name="connsiteX10" fmla="*/ 1152525 w 1252538"/>
              <a:gd name="connsiteY10" fmla="*/ 0 h 492919"/>
              <a:gd name="connsiteX11" fmla="*/ 1252538 w 1252538"/>
              <a:gd name="connsiteY11" fmla="*/ 97632 h 492919"/>
              <a:gd name="connsiteX12" fmla="*/ 1226344 w 1252538"/>
              <a:gd name="connsiteY12" fmla="*/ 183357 h 492919"/>
              <a:gd name="connsiteX13" fmla="*/ 1107282 w 1252538"/>
              <a:gd name="connsiteY13" fmla="*/ 276225 h 492919"/>
              <a:gd name="connsiteX14" fmla="*/ 1095375 w 1252538"/>
              <a:gd name="connsiteY14" fmla="*/ 259557 h 492919"/>
              <a:gd name="connsiteX15" fmla="*/ 1073944 w 1252538"/>
              <a:gd name="connsiteY15" fmla="*/ 250032 h 492919"/>
              <a:gd name="connsiteX16" fmla="*/ 1066800 w 1252538"/>
              <a:gd name="connsiteY16" fmla="*/ 247650 h 492919"/>
              <a:gd name="connsiteX17" fmla="*/ 990600 w 1252538"/>
              <a:gd name="connsiteY17" fmla="*/ 242888 h 492919"/>
              <a:gd name="connsiteX18" fmla="*/ 976313 w 1252538"/>
              <a:gd name="connsiteY18" fmla="*/ 240507 h 492919"/>
              <a:gd name="connsiteX19" fmla="*/ 969169 w 1252538"/>
              <a:gd name="connsiteY19" fmla="*/ 238125 h 492919"/>
              <a:gd name="connsiteX20" fmla="*/ 931069 w 1252538"/>
              <a:gd name="connsiteY20" fmla="*/ 235744 h 492919"/>
              <a:gd name="connsiteX21" fmla="*/ 897732 w 1252538"/>
              <a:gd name="connsiteY21" fmla="*/ 238125 h 492919"/>
              <a:gd name="connsiteX22" fmla="*/ 892969 w 1252538"/>
              <a:gd name="connsiteY22" fmla="*/ 245269 h 492919"/>
              <a:gd name="connsiteX23" fmla="*/ 878682 w 1252538"/>
              <a:gd name="connsiteY23" fmla="*/ 250032 h 492919"/>
              <a:gd name="connsiteX24" fmla="*/ 857250 w 1252538"/>
              <a:gd name="connsiteY24" fmla="*/ 257175 h 492919"/>
              <a:gd name="connsiteX25" fmla="*/ 850107 w 1252538"/>
              <a:gd name="connsiteY25" fmla="*/ 259557 h 492919"/>
              <a:gd name="connsiteX26" fmla="*/ 835819 w 1252538"/>
              <a:gd name="connsiteY26" fmla="*/ 261938 h 492919"/>
              <a:gd name="connsiteX27" fmla="*/ 828675 w 1252538"/>
              <a:gd name="connsiteY27" fmla="*/ 264319 h 492919"/>
              <a:gd name="connsiteX28" fmla="*/ 797719 w 1252538"/>
              <a:gd name="connsiteY28" fmla="*/ 266700 h 492919"/>
              <a:gd name="connsiteX29" fmla="*/ 788194 w 1252538"/>
              <a:gd name="connsiteY29" fmla="*/ 269082 h 492919"/>
              <a:gd name="connsiteX30" fmla="*/ 759619 w 1252538"/>
              <a:gd name="connsiteY30" fmla="*/ 278607 h 492919"/>
              <a:gd name="connsiteX31" fmla="*/ 728663 w 1252538"/>
              <a:gd name="connsiteY31" fmla="*/ 280988 h 492919"/>
              <a:gd name="connsiteX32" fmla="*/ 661988 w 1252538"/>
              <a:gd name="connsiteY32" fmla="*/ 283369 h 492919"/>
              <a:gd name="connsiteX33" fmla="*/ 661988 w 1252538"/>
              <a:gd name="connsiteY33" fmla="*/ 300038 h 492919"/>
              <a:gd name="connsiteX34" fmla="*/ 669132 w 1252538"/>
              <a:gd name="connsiteY34" fmla="*/ 304800 h 492919"/>
              <a:gd name="connsiteX35" fmla="*/ 683419 w 1252538"/>
              <a:gd name="connsiteY35" fmla="*/ 309563 h 492919"/>
              <a:gd name="connsiteX36" fmla="*/ 764382 w 1252538"/>
              <a:gd name="connsiteY36" fmla="*/ 361950 h 492919"/>
              <a:gd name="connsiteX37" fmla="*/ 781050 w 1252538"/>
              <a:gd name="connsiteY37" fmla="*/ 373857 h 492919"/>
              <a:gd name="connsiteX38" fmla="*/ 795338 w 1252538"/>
              <a:gd name="connsiteY38" fmla="*/ 376238 h 492919"/>
              <a:gd name="connsiteX39" fmla="*/ 802482 w 1252538"/>
              <a:gd name="connsiteY39" fmla="*/ 378619 h 492919"/>
              <a:gd name="connsiteX40" fmla="*/ 816769 w 1252538"/>
              <a:gd name="connsiteY40" fmla="*/ 395288 h 492919"/>
              <a:gd name="connsiteX41" fmla="*/ 814388 w 1252538"/>
              <a:gd name="connsiteY41" fmla="*/ 402432 h 492919"/>
              <a:gd name="connsiteX42" fmla="*/ 809625 w 1252538"/>
              <a:gd name="connsiteY42" fmla="*/ 409575 h 492919"/>
              <a:gd name="connsiteX43" fmla="*/ 795338 w 1252538"/>
              <a:gd name="connsiteY43" fmla="*/ 416719 h 492919"/>
              <a:gd name="connsiteX44" fmla="*/ 773907 w 1252538"/>
              <a:gd name="connsiteY44" fmla="*/ 414338 h 492919"/>
              <a:gd name="connsiteX45" fmla="*/ 759619 w 1252538"/>
              <a:gd name="connsiteY45" fmla="*/ 404813 h 492919"/>
              <a:gd name="connsiteX46" fmla="*/ 752475 w 1252538"/>
              <a:gd name="connsiteY46" fmla="*/ 400050 h 492919"/>
              <a:gd name="connsiteX47" fmla="*/ 747713 w 1252538"/>
              <a:gd name="connsiteY47" fmla="*/ 392907 h 492919"/>
              <a:gd name="connsiteX48" fmla="*/ 740569 w 1252538"/>
              <a:gd name="connsiteY48" fmla="*/ 390525 h 492919"/>
              <a:gd name="connsiteX49" fmla="*/ 733425 w 1252538"/>
              <a:gd name="connsiteY49" fmla="*/ 385763 h 492919"/>
              <a:gd name="connsiteX50" fmla="*/ 714375 w 1252538"/>
              <a:gd name="connsiteY50" fmla="*/ 381000 h 492919"/>
              <a:gd name="connsiteX51" fmla="*/ 707232 w 1252538"/>
              <a:gd name="connsiteY51" fmla="*/ 378619 h 492919"/>
              <a:gd name="connsiteX52" fmla="*/ 690563 w 1252538"/>
              <a:gd name="connsiteY52" fmla="*/ 381000 h 492919"/>
              <a:gd name="connsiteX53" fmla="*/ 692944 w 1252538"/>
              <a:gd name="connsiteY53" fmla="*/ 388144 h 492919"/>
              <a:gd name="connsiteX54" fmla="*/ 700088 w 1252538"/>
              <a:gd name="connsiteY54" fmla="*/ 392907 h 492919"/>
              <a:gd name="connsiteX55" fmla="*/ 709613 w 1252538"/>
              <a:gd name="connsiteY55" fmla="*/ 402432 h 492919"/>
              <a:gd name="connsiteX56" fmla="*/ 728663 w 1252538"/>
              <a:gd name="connsiteY56" fmla="*/ 428625 h 492919"/>
              <a:gd name="connsiteX57" fmla="*/ 731044 w 1252538"/>
              <a:gd name="connsiteY57" fmla="*/ 461963 h 492919"/>
              <a:gd name="connsiteX58" fmla="*/ 723900 w 1252538"/>
              <a:gd name="connsiteY58" fmla="*/ 466725 h 492919"/>
              <a:gd name="connsiteX59" fmla="*/ 709613 w 1252538"/>
              <a:gd name="connsiteY59" fmla="*/ 461963 h 492919"/>
              <a:gd name="connsiteX60" fmla="*/ 707232 w 1252538"/>
              <a:gd name="connsiteY60" fmla="*/ 454819 h 492919"/>
              <a:gd name="connsiteX61" fmla="*/ 702469 w 1252538"/>
              <a:gd name="connsiteY61" fmla="*/ 447675 h 492919"/>
              <a:gd name="connsiteX62" fmla="*/ 688182 w 1252538"/>
              <a:gd name="connsiteY62" fmla="*/ 442913 h 492919"/>
              <a:gd name="connsiteX63" fmla="*/ 671513 w 1252538"/>
              <a:gd name="connsiteY63" fmla="*/ 416719 h 492919"/>
              <a:gd name="connsiteX64" fmla="*/ 650082 w 1252538"/>
              <a:gd name="connsiteY64" fmla="*/ 404813 h 492919"/>
              <a:gd name="connsiteX65" fmla="*/ 642938 w 1252538"/>
              <a:gd name="connsiteY65" fmla="*/ 400050 h 492919"/>
              <a:gd name="connsiteX66" fmla="*/ 609600 w 1252538"/>
              <a:gd name="connsiteY66" fmla="*/ 400050 h 492919"/>
              <a:gd name="connsiteX67" fmla="*/ 609600 w 1252538"/>
              <a:gd name="connsiteY67" fmla="*/ 426244 h 492919"/>
              <a:gd name="connsiteX68" fmla="*/ 616744 w 1252538"/>
              <a:gd name="connsiteY68" fmla="*/ 433388 h 492919"/>
              <a:gd name="connsiteX69" fmla="*/ 631032 w 1252538"/>
              <a:gd name="connsiteY69" fmla="*/ 442913 h 492919"/>
              <a:gd name="connsiteX70" fmla="*/ 657225 w 1252538"/>
              <a:gd name="connsiteY70" fmla="*/ 459582 h 492919"/>
              <a:gd name="connsiteX71" fmla="*/ 664369 w 1252538"/>
              <a:gd name="connsiteY71" fmla="*/ 464344 h 492919"/>
              <a:gd name="connsiteX72" fmla="*/ 671513 w 1252538"/>
              <a:gd name="connsiteY72" fmla="*/ 466725 h 492919"/>
              <a:gd name="connsiteX73" fmla="*/ 673894 w 1252538"/>
              <a:gd name="connsiteY73" fmla="*/ 488157 h 492919"/>
              <a:gd name="connsiteX74" fmla="*/ 666750 w 1252538"/>
              <a:gd name="connsiteY74" fmla="*/ 490538 h 492919"/>
              <a:gd name="connsiteX75" fmla="*/ 642938 w 1252538"/>
              <a:gd name="connsiteY75" fmla="*/ 492919 h 492919"/>
              <a:gd name="connsiteX76" fmla="*/ 616744 w 1252538"/>
              <a:gd name="connsiteY76" fmla="*/ 485775 h 492919"/>
              <a:gd name="connsiteX77" fmla="*/ 609600 w 1252538"/>
              <a:gd name="connsiteY77" fmla="*/ 481013 h 492919"/>
              <a:gd name="connsiteX78" fmla="*/ 600075 w 1252538"/>
              <a:gd name="connsiteY78" fmla="*/ 476250 h 492919"/>
              <a:gd name="connsiteX79" fmla="*/ 592932 w 1252538"/>
              <a:gd name="connsiteY79" fmla="*/ 469107 h 492919"/>
              <a:gd name="connsiteX80" fmla="*/ 578644 w 1252538"/>
              <a:gd name="connsiteY80" fmla="*/ 428625 h 492919"/>
              <a:gd name="connsiteX81" fmla="*/ 576263 w 1252538"/>
              <a:gd name="connsiteY81" fmla="*/ 409575 h 492919"/>
              <a:gd name="connsiteX82" fmla="*/ 569119 w 1252538"/>
              <a:gd name="connsiteY82" fmla="*/ 404813 h 492919"/>
              <a:gd name="connsiteX83" fmla="*/ 554832 w 1252538"/>
              <a:gd name="connsiteY83" fmla="*/ 400050 h 492919"/>
              <a:gd name="connsiteX84" fmla="*/ 547688 w 1252538"/>
              <a:gd name="connsiteY84" fmla="*/ 395288 h 492919"/>
              <a:gd name="connsiteX85" fmla="*/ 540544 w 1252538"/>
              <a:gd name="connsiteY85" fmla="*/ 392907 h 492919"/>
              <a:gd name="connsiteX86" fmla="*/ 533400 w 1252538"/>
              <a:gd name="connsiteY86" fmla="*/ 388144 h 492919"/>
              <a:gd name="connsiteX87" fmla="*/ 519113 w 1252538"/>
              <a:gd name="connsiteY87" fmla="*/ 385763 h 492919"/>
              <a:gd name="connsiteX88" fmla="*/ 514350 w 1252538"/>
              <a:gd name="connsiteY88" fmla="*/ 378619 h 492919"/>
              <a:gd name="connsiteX89" fmla="*/ 514350 w 1252538"/>
              <a:gd name="connsiteY89" fmla="*/ 350044 h 492919"/>
              <a:gd name="connsiteX90" fmla="*/ 521494 w 1252538"/>
              <a:gd name="connsiteY90" fmla="*/ 345282 h 492919"/>
              <a:gd name="connsiteX91" fmla="*/ 531019 w 1252538"/>
              <a:gd name="connsiteY91" fmla="*/ 323850 h 492919"/>
              <a:gd name="connsiteX92" fmla="*/ 521494 w 1252538"/>
              <a:gd name="connsiteY92" fmla="*/ 309563 h 492919"/>
              <a:gd name="connsiteX93" fmla="*/ 507207 w 1252538"/>
              <a:gd name="connsiteY93" fmla="*/ 304800 h 492919"/>
              <a:gd name="connsiteX94" fmla="*/ 490538 w 1252538"/>
              <a:gd name="connsiteY94" fmla="*/ 307182 h 492919"/>
              <a:gd name="connsiteX95" fmla="*/ 476250 w 1252538"/>
              <a:gd name="connsiteY95" fmla="*/ 316707 h 492919"/>
              <a:gd name="connsiteX96" fmla="*/ 469107 w 1252538"/>
              <a:gd name="connsiteY96" fmla="*/ 319088 h 492919"/>
              <a:gd name="connsiteX97" fmla="*/ 452438 w 1252538"/>
              <a:gd name="connsiteY97" fmla="*/ 340519 h 492919"/>
              <a:gd name="connsiteX98" fmla="*/ 447675 w 1252538"/>
              <a:gd name="connsiteY98" fmla="*/ 347663 h 492919"/>
              <a:gd name="connsiteX99" fmla="*/ 445294 w 1252538"/>
              <a:gd name="connsiteY99" fmla="*/ 369094 h 492919"/>
              <a:gd name="connsiteX100" fmla="*/ 452438 w 1252538"/>
              <a:gd name="connsiteY100" fmla="*/ 373857 h 492919"/>
              <a:gd name="connsiteX101" fmla="*/ 454819 w 1252538"/>
              <a:gd name="connsiteY101" fmla="*/ 381000 h 492919"/>
              <a:gd name="connsiteX102" fmla="*/ 447675 w 1252538"/>
              <a:gd name="connsiteY102" fmla="*/ 404813 h 492919"/>
              <a:gd name="connsiteX103" fmla="*/ 445294 w 1252538"/>
              <a:gd name="connsiteY103" fmla="*/ 411957 h 492919"/>
              <a:gd name="connsiteX104" fmla="*/ 440532 w 1252538"/>
              <a:gd name="connsiteY104" fmla="*/ 421482 h 492919"/>
              <a:gd name="connsiteX105" fmla="*/ 442913 w 1252538"/>
              <a:gd name="connsiteY105" fmla="*/ 433388 h 492919"/>
              <a:gd name="connsiteX106" fmla="*/ 445294 w 1252538"/>
              <a:gd name="connsiteY106" fmla="*/ 435769 h 492919"/>
              <a:gd name="connsiteX107" fmla="*/ 490538 w 1252538"/>
              <a:gd name="connsiteY107" fmla="*/ 488157 h 492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1252538" h="492919">
                <a:moveTo>
                  <a:pt x="0" y="488157"/>
                </a:moveTo>
                <a:lnTo>
                  <a:pt x="59532" y="433388"/>
                </a:lnTo>
                <a:lnTo>
                  <a:pt x="114300" y="369094"/>
                </a:lnTo>
                <a:lnTo>
                  <a:pt x="123825" y="283369"/>
                </a:lnTo>
                <a:lnTo>
                  <a:pt x="271463" y="216694"/>
                </a:lnTo>
                <a:lnTo>
                  <a:pt x="459582" y="188119"/>
                </a:lnTo>
                <a:lnTo>
                  <a:pt x="669132" y="116682"/>
                </a:lnTo>
                <a:lnTo>
                  <a:pt x="814388" y="90488"/>
                </a:lnTo>
                <a:lnTo>
                  <a:pt x="964407" y="130969"/>
                </a:lnTo>
                <a:lnTo>
                  <a:pt x="1076325" y="61913"/>
                </a:lnTo>
                <a:lnTo>
                  <a:pt x="1152525" y="0"/>
                </a:lnTo>
                <a:lnTo>
                  <a:pt x="1252538" y="97632"/>
                </a:lnTo>
                <a:lnTo>
                  <a:pt x="1226344" y="183357"/>
                </a:lnTo>
                <a:lnTo>
                  <a:pt x="1107282" y="276225"/>
                </a:lnTo>
                <a:cubicBezTo>
                  <a:pt x="1103313" y="270669"/>
                  <a:pt x="1099911" y="264660"/>
                  <a:pt x="1095375" y="259557"/>
                </a:cubicBezTo>
                <a:cubicBezTo>
                  <a:pt x="1090606" y="254192"/>
                  <a:pt x="1079455" y="251869"/>
                  <a:pt x="1073944" y="250032"/>
                </a:cubicBezTo>
                <a:lnTo>
                  <a:pt x="1066800" y="247650"/>
                </a:lnTo>
                <a:cubicBezTo>
                  <a:pt x="1037811" y="237986"/>
                  <a:pt x="1062124" y="245354"/>
                  <a:pt x="990600" y="242888"/>
                </a:cubicBezTo>
                <a:cubicBezTo>
                  <a:pt x="985838" y="242094"/>
                  <a:pt x="981026" y="241554"/>
                  <a:pt x="976313" y="240507"/>
                </a:cubicBezTo>
                <a:cubicBezTo>
                  <a:pt x="973863" y="239962"/>
                  <a:pt x="971665" y="238388"/>
                  <a:pt x="969169" y="238125"/>
                </a:cubicBezTo>
                <a:cubicBezTo>
                  <a:pt x="956514" y="236793"/>
                  <a:pt x="943769" y="236538"/>
                  <a:pt x="931069" y="235744"/>
                </a:cubicBezTo>
                <a:cubicBezTo>
                  <a:pt x="919957" y="236538"/>
                  <a:pt x="908540" y="235423"/>
                  <a:pt x="897732" y="238125"/>
                </a:cubicBezTo>
                <a:cubicBezTo>
                  <a:pt x="894955" y="238819"/>
                  <a:pt x="895396" y="243752"/>
                  <a:pt x="892969" y="245269"/>
                </a:cubicBezTo>
                <a:cubicBezTo>
                  <a:pt x="888712" y="247930"/>
                  <a:pt x="883444" y="248444"/>
                  <a:pt x="878682" y="250032"/>
                </a:cubicBezTo>
                <a:lnTo>
                  <a:pt x="857250" y="257175"/>
                </a:lnTo>
                <a:cubicBezTo>
                  <a:pt x="854869" y="257969"/>
                  <a:pt x="852583" y="259144"/>
                  <a:pt x="850107" y="259557"/>
                </a:cubicBezTo>
                <a:cubicBezTo>
                  <a:pt x="845344" y="260351"/>
                  <a:pt x="840532" y="260891"/>
                  <a:pt x="835819" y="261938"/>
                </a:cubicBezTo>
                <a:cubicBezTo>
                  <a:pt x="833369" y="262482"/>
                  <a:pt x="831166" y="264008"/>
                  <a:pt x="828675" y="264319"/>
                </a:cubicBezTo>
                <a:cubicBezTo>
                  <a:pt x="818406" y="265603"/>
                  <a:pt x="808038" y="265906"/>
                  <a:pt x="797719" y="266700"/>
                </a:cubicBezTo>
                <a:cubicBezTo>
                  <a:pt x="794544" y="267494"/>
                  <a:pt x="791329" y="268142"/>
                  <a:pt x="788194" y="269082"/>
                </a:cubicBezTo>
                <a:cubicBezTo>
                  <a:pt x="778613" y="271956"/>
                  <a:pt x="769119" y="275440"/>
                  <a:pt x="759619" y="278607"/>
                </a:cubicBezTo>
                <a:cubicBezTo>
                  <a:pt x="749801" y="281881"/>
                  <a:pt x="739000" y="280484"/>
                  <a:pt x="728663" y="280988"/>
                </a:cubicBezTo>
                <a:cubicBezTo>
                  <a:pt x="706450" y="282071"/>
                  <a:pt x="684213" y="282575"/>
                  <a:pt x="661988" y="283369"/>
                </a:cubicBezTo>
                <a:cubicBezTo>
                  <a:pt x="659846" y="289795"/>
                  <a:pt x="657337" y="293062"/>
                  <a:pt x="661988" y="300038"/>
                </a:cubicBezTo>
                <a:cubicBezTo>
                  <a:pt x="663576" y="302419"/>
                  <a:pt x="666517" y="303638"/>
                  <a:pt x="669132" y="304800"/>
                </a:cubicBezTo>
                <a:cubicBezTo>
                  <a:pt x="673719" y="306839"/>
                  <a:pt x="683419" y="309563"/>
                  <a:pt x="683419" y="309563"/>
                </a:cubicBezTo>
                <a:lnTo>
                  <a:pt x="764382" y="361950"/>
                </a:lnTo>
                <a:cubicBezTo>
                  <a:pt x="769938" y="365919"/>
                  <a:pt x="774850" y="370996"/>
                  <a:pt x="781050" y="373857"/>
                </a:cubicBezTo>
                <a:cubicBezTo>
                  <a:pt x="785434" y="375880"/>
                  <a:pt x="790625" y="375191"/>
                  <a:pt x="795338" y="376238"/>
                </a:cubicBezTo>
                <a:cubicBezTo>
                  <a:pt x="797788" y="376782"/>
                  <a:pt x="800101" y="377825"/>
                  <a:pt x="802482" y="378619"/>
                </a:cubicBezTo>
                <a:cubicBezTo>
                  <a:pt x="806054" y="381794"/>
                  <a:pt x="814785" y="391319"/>
                  <a:pt x="816769" y="395288"/>
                </a:cubicBezTo>
                <a:cubicBezTo>
                  <a:pt x="815975" y="397669"/>
                  <a:pt x="815511" y="400187"/>
                  <a:pt x="814388" y="402432"/>
                </a:cubicBezTo>
                <a:cubicBezTo>
                  <a:pt x="813108" y="404992"/>
                  <a:pt x="811649" y="407551"/>
                  <a:pt x="809625" y="409575"/>
                </a:cubicBezTo>
                <a:cubicBezTo>
                  <a:pt x="805007" y="414193"/>
                  <a:pt x="801150" y="414782"/>
                  <a:pt x="795338" y="416719"/>
                </a:cubicBezTo>
                <a:cubicBezTo>
                  <a:pt x="788194" y="415925"/>
                  <a:pt x="780726" y="416611"/>
                  <a:pt x="773907" y="414338"/>
                </a:cubicBezTo>
                <a:cubicBezTo>
                  <a:pt x="768477" y="412528"/>
                  <a:pt x="764382" y="407988"/>
                  <a:pt x="759619" y="404813"/>
                </a:cubicBezTo>
                <a:lnTo>
                  <a:pt x="752475" y="400050"/>
                </a:lnTo>
                <a:cubicBezTo>
                  <a:pt x="750888" y="397669"/>
                  <a:pt x="749948" y="394695"/>
                  <a:pt x="747713" y="392907"/>
                </a:cubicBezTo>
                <a:cubicBezTo>
                  <a:pt x="745753" y="391339"/>
                  <a:pt x="742814" y="391648"/>
                  <a:pt x="740569" y="390525"/>
                </a:cubicBezTo>
                <a:cubicBezTo>
                  <a:pt x="738009" y="389245"/>
                  <a:pt x="735985" y="387043"/>
                  <a:pt x="733425" y="385763"/>
                </a:cubicBezTo>
                <a:cubicBezTo>
                  <a:pt x="727983" y="383042"/>
                  <a:pt x="719807" y="382358"/>
                  <a:pt x="714375" y="381000"/>
                </a:cubicBezTo>
                <a:cubicBezTo>
                  <a:pt x="711940" y="380391"/>
                  <a:pt x="709613" y="379413"/>
                  <a:pt x="707232" y="378619"/>
                </a:cubicBezTo>
                <a:cubicBezTo>
                  <a:pt x="701676" y="379413"/>
                  <a:pt x="695233" y="377887"/>
                  <a:pt x="690563" y="381000"/>
                </a:cubicBezTo>
                <a:cubicBezTo>
                  <a:pt x="688474" y="382392"/>
                  <a:pt x="691376" y="386184"/>
                  <a:pt x="692944" y="388144"/>
                </a:cubicBezTo>
                <a:cubicBezTo>
                  <a:pt x="694732" y="390379"/>
                  <a:pt x="697707" y="391319"/>
                  <a:pt x="700088" y="392907"/>
                </a:cubicBezTo>
                <a:cubicBezTo>
                  <a:pt x="706437" y="411953"/>
                  <a:pt x="704851" y="396479"/>
                  <a:pt x="709613" y="402432"/>
                </a:cubicBezTo>
                <a:cubicBezTo>
                  <a:pt x="714375" y="408385"/>
                  <a:pt x="725091" y="418703"/>
                  <a:pt x="728663" y="428625"/>
                </a:cubicBezTo>
                <a:cubicBezTo>
                  <a:pt x="733092" y="441914"/>
                  <a:pt x="737052" y="446945"/>
                  <a:pt x="731044" y="461963"/>
                </a:cubicBezTo>
                <a:cubicBezTo>
                  <a:pt x="729981" y="464620"/>
                  <a:pt x="726281" y="465138"/>
                  <a:pt x="723900" y="466725"/>
                </a:cubicBezTo>
                <a:lnTo>
                  <a:pt x="709613" y="461963"/>
                </a:lnTo>
                <a:cubicBezTo>
                  <a:pt x="707232" y="461169"/>
                  <a:pt x="708355" y="457064"/>
                  <a:pt x="707232" y="454819"/>
                </a:cubicBezTo>
                <a:cubicBezTo>
                  <a:pt x="705952" y="452259"/>
                  <a:pt x="704896" y="449192"/>
                  <a:pt x="702469" y="447675"/>
                </a:cubicBezTo>
                <a:cubicBezTo>
                  <a:pt x="698212" y="445014"/>
                  <a:pt x="693341" y="448072"/>
                  <a:pt x="688182" y="442913"/>
                </a:cubicBezTo>
                <a:cubicBezTo>
                  <a:pt x="683023" y="437754"/>
                  <a:pt x="677863" y="423069"/>
                  <a:pt x="671513" y="416719"/>
                </a:cubicBezTo>
                <a:cubicBezTo>
                  <a:pt x="665163" y="410369"/>
                  <a:pt x="659893" y="408083"/>
                  <a:pt x="650082" y="404813"/>
                </a:cubicBezTo>
                <a:cubicBezTo>
                  <a:pt x="647701" y="403225"/>
                  <a:pt x="645498" y="401330"/>
                  <a:pt x="642938" y="400050"/>
                </a:cubicBezTo>
                <a:cubicBezTo>
                  <a:pt x="631839" y="394500"/>
                  <a:pt x="623057" y="398827"/>
                  <a:pt x="609600" y="400050"/>
                </a:cubicBezTo>
                <a:cubicBezTo>
                  <a:pt x="606160" y="410372"/>
                  <a:pt x="604449" y="412079"/>
                  <a:pt x="609600" y="426244"/>
                </a:cubicBezTo>
                <a:cubicBezTo>
                  <a:pt x="610751" y="429409"/>
                  <a:pt x="614086" y="431320"/>
                  <a:pt x="616744" y="433388"/>
                </a:cubicBezTo>
                <a:cubicBezTo>
                  <a:pt x="621262" y="436902"/>
                  <a:pt x="624285" y="438547"/>
                  <a:pt x="631032" y="442913"/>
                </a:cubicBezTo>
                <a:cubicBezTo>
                  <a:pt x="637779" y="447279"/>
                  <a:pt x="651669" y="456010"/>
                  <a:pt x="657225" y="459582"/>
                </a:cubicBezTo>
                <a:cubicBezTo>
                  <a:pt x="662781" y="463154"/>
                  <a:pt x="661809" y="463064"/>
                  <a:pt x="664369" y="464344"/>
                </a:cubicBezTo>
                <a:cubicBezTo>
                  <a:pt x="666614" y="465466"/>
                  <a:pt x="669132" y="465931"/>
                  <a:pt x="671513" y="466725"/>
                </a:cubicBezTo>
                <a:cubicBezTo>
                  <a:pt x="673100" y="471486"/>
                  <a:pt x="679847" y="482204"/>
                  <a:pt x="673894" y="488157"/>
                </a:cubicBezTo>
                <a:cubicBezTo>
                  <a:pt x="672119" y="489932"/>
                  <a:pt x="669231" y="490156"/>
                  <a:pt x="666750" y="490538"/>
                </a:cubicBezTo>
                <a:cubicBezTo>
                  <a:pt x="658866" y="491751"/>
                  <a:pt x="650875" y="492125"/>
                  <a:pt x="642938" y="492919"/>
                </a:cubicBezTo>
                <a:cubicBezTo>
                  <a:pt x="636546" y="491641"/>
                  <a:pt x="621926" y="489229"/>
                  <a:pt x="616744" y="485775"/>
                </a:cubicBezTo>
                <a:cubicBezTo>
                  <a:pt x="614363" y="484188"/>
                  <a:pt x="612085" y="482433"/>
                  <a:pt x="609600" y="481013"/>
                </a:cubicBezTo>
                <a:cubicBezTo>
                  <a:pt x="606518" y="479252"/>
                  <a:pt x="602964" y="478313"/>
                  <a:pt x="600075" y="476250"/>
                </a:cubicBezTo>
                <a:cubicBezTo>
                  <a:pt x="597335" y="474293"/>
                  <a:pt x="595313" y="471488"/>
                  <a:pt x="592932" y="469107"/>
                </a:cubicBezTo>
                <a:cubicBezTo>
                  <a:pt x="589360" y="461170"/>
                  <a:pt x="581422" y="438547"/>
                  <a:pt x="578644" y="428625"/>
                </a:cubicBezTo>
                <a:cubicBezTo>
                  <a:pt x="577850" y="422275"/>
                  <a:pt x="578640" y="415517"/>
                  <a:pt x="576263" y="409575"/>
                </a:cubicBezTo>
                <a:cubicBezTo>
                  <a:pt x="575200" y="406918"/>
                  <a:pt x="571734" y="405975"/>
                  <a:pt x="569119" y="404813"/>
                </a:cubicBezTo>
                <a:cubicBezTo>
                  <a:pt x="564532" y="402774"/>
                  <a:pt x="559594" y="401638"/>
                  <a:pt x="554832" y="400050"/>
                </a:cubicBezTo>
                <a:cubicBezTo>
                  <a:pt x="552117" y="399145"/>
                  <a:pt x="550248" y="396568"/>
                  <a:pt x="547688" y="395288"/>
                </a:cubicBezTo>
                <a:cubicBezTo>
                  <a:pt x="545443" y="394166"/>
                  <a:pt x="542925" y="393701"/>
                  <a:pt x="540544" y="392907"/>
                </a:cubicBezTo>
                <a:cubicBezTo>
                  <a:pt x="538163" y="391319"/>
                  <a:pt x="536115" y="389049"/>
                  <a:pt x="533400" y="388144"/>
                </a:cubicBezTo>
                <a:cubicBezTo>
                  <a:pt x="528820" y="386617"/>
                  <a:pt x="523431" y="387922"/>
                  <a:pt x="519113" y="385763"/>
                </a:cubicBezTo>
                <a:cubicBezTo>
                  <a:pt x="516553" y="384483"/>
                  <a:pt x="515938" y="381000"/>
                  <a:pt x="514350" y="378619"/>
                </a:cubicBezTo>
                <a:cubicBezTo>
                  <a:pt x="510705" y="367684"/>
                  <a:pt x="508802" y="365300"/>
                  <a:pt x="514350" y="350044"/>
                </a:cubicBezTo>
                <a:cubicBezTo>
                  <a:pt x="515328" y="347354"/>
                  <a:pt x="519113" y="346869"/>
                  <a:pt x="521494" y="345282"/>
                </a:cubicBezTo>
                <a:cubicBezTo>
                  <a:pt x="527162" y="328279"/>
                  <a:pt x="523472" y="335171"/>
                  <a:pt x="531019" y="323850"/>
                </a:cubicBezTo>
                <a:cubicBezTo>
                  <a:pt x="528649" y="314368"/>
                  <a:pt x="530745" y="313675"/>
                  <a:pt x="521494" y="309563"/>
                </a:cubicBezTo>
                <a:cubicBezTo>
                  <a:pt x="516907" y="307524"/>
                  <a:pt x="507207" y="304800"/>
                  <a:pt x="507207" y="304800"/>
                </a:cubicBezTo>
                <a:cubicBezTo>
                  <a:pt x="501651" y="305594"/>
                  <a:pt x="495777" y="305167"/>
                  <a:pt x="490538" y="307182"/>
                </a:cubicBezTo>
                <a:cubicBezTo>
                  <a:pt x="485196" y="309237"/>
                  <a:pt x="481680" y="314897"/>
                  <a:pt x="476250" y="316707"/>
                </a:cubicBezTo>
                <a:lnTo>
                  <a:pt x="469107" y="319088"/>
                </a:lnTo>
                <a:cubicBezTo>
                  <a:pt x="457916" y="330279"/>
                  <a:pt x="463832" y="323430"/>
                  <a:pt x="452438" y="340519"/>
                </a:cubicBezTo>
                <a:lnTo>
                  <a:pt x="447675" y="347663"/>
                </a:lnTo>
                <a:cubicBezTo>
                  <a:pt x="445387" y="354526"/>
                  <a:pt x="439692" y="362091"/>
                  <a:pt x="445294" y="369094"/>
                </a:cubicBezTo>
                <a:cubicBezTo>
                  <a:pt x="447082" y="371329"/>
                  <a:pt x="450057" y="372269"/>
                  <a:pt x="452438" y="373857"/>
                </a:cubicBezTo>
                <a:cubicBezTo>
                  <a:pt x="453232" y="376238"/>
                  <a:pt x="454819" y="378490"/>
                  <a:pt x="454819" y="381000"/>
                </a:cubicBezTo>
                <a:cubicBezTo>
                  <a:pt x="454819" y="396324"/>
                  <a:pt x="454131" y="395130"/>
                  <a:pt x="447675" y="404813"/>
                </a:cubicBezTo>
                <a:cubicBezTo>
                  <a:pt x="446881" y="407194"/>
                  <a:pt x="446283" y="409650"/>
                  <a:pt x="445294" y="411957"/>
                </a:cubicBezTo>
                <a:cubicBezTo>
                  <a:pt x="443896" y="415220"/>
                  <a:pt x="440924" y="417954"/>
                  <a:pt x="440532" y="421482"/>
                </a:cubicBezTo>
                <a:cubicBezTo>
                  <a:pt x="440085" y="425504"/>
                  <a:pt x="441633" y="429548"/>
                  <a:pt x="442913" y="433388"/>
                </a:cubicBezTo>
                <a:cubicBezTo>
                  <a:pt x="443268" y="434453"/>
                  <a:pt x="444500" y="434975"/>
                  <a:pt x="445294" y="435769"/>
                </a:cubicBezTo>
                <a:lnTo>
                  <a:pt x="490538" y="488157"/>
                </a:lnTo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30" name="Freihandform 129"/>
          <p:cNvSpPr/>
          <p:nvPr/>
        </p:nvSpPr>
        <p:spPr bwMode="auto">
          <a:xfrm>
            <a:off x="4783160" y="3032161"/>
            <a:ext cx="1480424" cy="1435391"/>
          </a:xfrm>
          <a:custGeom>
            <a:avLst/>
            <a:gdLst>
              <a:gd name="connsiteX0" fmla="*/ 1670050 w 1670050"/>
              <a:gd name="connsiteY0" fmla="*/ 0 h 1619250"/>
              <a:gd name="connsiteX1" fmla="*/ 1533525 w 1670050"/>
              <a:gd name="connsiteY1" fmla="*/ 60325 h 1619250"/>
              <a:gd name="connsiteX2" fmla="*/ 1492250 w 1670050"/>
              <a:gd name="connsiteY2" fmla="*/ 82550 h 1619250"/>
              <a:gd name="connsiteX3" fmla="*/ 1447800 w 1670050"/>
              <a:gd name="connsiteY3" fmla="*/ 79375 h 1619250"/>
              <a:gd name="connsiteX4" fmla="*/ 1333500 w 1670050"/>
              <a:gd name="connsiteY4" fmla="*/ 76200 h 1619250"/>
              <a:gd name="connsiteX5" fmla="*/ 1292225 w 1670050"/>
              <a:gd name="connsiteY5" fmla="*/ 187325 h 1619250"/>
              <a:gd name="connsiteX6" fmla="*/ 1314450 w 1670050"/>
              <a:gd name="connsiteY6" fmla="*/ 250825 h 1619250"/>
              <a:gd name="connsiteX7" fmla="*/ 1158875 w 1670050"/>
              <a:gd name="connsiteY7" fmla="*/ 190500 h 1619250"/>
              <a:gd name="connsiteX8" fmla="*/ 898525 w 1670050"/>
              <a:gd name="connsiteY8" fmla="*/ 215900 h 1619250"/>
              <a:gd name="connsiteX9" fmla="*/ 457200 w 1670050"/>
              <a:gd name="connsiteY9" fmla="*/ 161925 h 1619250"/>
              <a:gd name="connsiteX10" fmla="*/ 304800 w 1670050"/>
              <a:gd name="connsiteY10" fmla="*/ 212725 h 1619250"/>
              <a:gd name="connsiteX11" fmla="*/ 193675 w 1670050"/>
              <a:gd name="connsiteY11" fmla="*/ 260350 h 1619250"/>
              <a:gd name="connsiteX12" fmla="*/ 206375 w 1670050"/>
              <a:gd name="connsiteY12" fmla="*/ 377825 h 1619250"/>
              <a:gd name="connsiteX13" fmla="*/ 285750 w 1670050"/>
              <a:gd name="connsiteY13" fmla="*/ 488950 h 1619250"/>
              <a:gd name="connsiteX14" fmla="*/ 111125 w 1670050"/>
              <a:gd name="connsiteY14" fmla="*/ 650875 h 1619250"/>
              <a:gd name="connsiteX15" fmla="*/ 88900 w 1670050"/>
              <a:gd name="connsiteY15" fmla="*/ 755650 h 1619250"/>
              <a:gd name="connsiteX16" fmla="*/ 107950 w 1670050"/>
              <a:gd name="connsiteY16" fmla="*/ 800100 h 1619250"/>
              <a:gd name="connsiteX17" fmla="*/ 66675 w 1670050"/>
              <a:gd name="connsiteY17" fmla="*/ 854075 h 1619250"/>
              <a:gd name="connsiteX18" fmla="*/ 0 w 1670050"/>
              <a:gd name="connsiteY18" fmla="*/ 955675 h 1619250"/>
              <a:gd name="connsiteX19" fmla="*/ 82550 w 1670050"/>
              <a:gd name="connsiteY19" fmla="*/ 1050925 h 1619250"/>
              <a:gd name="connsiteX20" fmla="*/ 263525 w 1670050"/>
              <a:gd name="connsiteY20" fmla="*/ 1069975 h 1619250"/>
              <a:gd name="connsiteX21" fmla="*/ 422275 w 1670050"/>
              <a:gd name="connsiteY21" fmla="*/ 1076325 h 1619250"/>
              <a:gd name="connsiteX22" fmla="*/ 571500 w 1670050"/>
              <a:gd name="connsiteY22" fmla="*/ 1111250 h 1619250"/>
              <a:gd name="connsiteX23" fmla="*/ 806450 w 1670050"/>
              <a:gd name="connsiteY23" fmla="*/ 987425 h 1619250"/>
              <a:gd name="connsiteX24" fmla="*/ 930275 w 1670050"/>
              <a:gd name="connsiteY24" fmla="*/ 949325 h 1619250"/>
              <a:gd name="connsiteX25" fmla="*/ 1168400 w 1670050"/>
              <a:gd name="connsiteY25" fmla="*/ 981075 h 1619250"/>
              <a:gd name="connsiteX26" fmla="*/ 1200150 w 1670050"/>
              <a:gd name="connsiteY26" fmla="*/ 1095375 h 1619250"/>
              <a:gd name="connsiteX27" fmla="*/ 1339850 w 1670050"/>
              <a:gd name="connsiteY27" fmla="*/ 1219200 h 1619250"/>
              <a:gd name="connsiteX28" fmla="*/ 1355725 w 1670050"/>
              <a:gd name="connsiteY28" fmla="*/ 1266825 h 1619250"/>
              <a:gd name="connsiteX29" fmla="*/ 1149350 w 1670050"/>
              <a:gd name="connsiteY29" fmla="*/ 1279525 h 1619250"/>
              <a:gd name="connsiteX30" fmla="*/ 1101725 w 1670050"/>
              <a:gd name="connsiteY30" fmla="*/ 1444625 h 1619250"/>
              <a:gd name="connsiteX31" fmla="*/ 1060450 w 1670050"/>
              <a:gd name="connsiteY31" fmla="*/ 1527175 h 1619250"/>
              <a:gd name="connsiteX32" fmla="*/ 1158875 w 1670050"/>
              <a:gd name="connsiteY32" fmla="*/ 1619250 h 1619250"/>
              <a:gd name="connsiteX33" fmla="*/ 1279525 w 1670050"/>
              <a:gd name="connsiteY33" fmla="*/ 1552575 h 1619250"/>
              <a:gd name="connsiteX34" fmla="*/ 1365250 w 1670050"/>
              <a:gd name="connsiteY34" fmla="*/ 1530350 h 1619250"/>
              <a:gd name="connsiteX35" fmla="*/ 1365250 w 1670050"/>
              <a:gd name="connsiteY35" fmla="*/ 1479550 h 1619250"/>
              <a:gd name="connsiteX36" fmla="*/ 1485900 w 1670050"/>
              <a:gd name="connsiteY36" fmla="*/ 1327150 h 1619250"/>
              <a:gd name="connsiteX37" fmla="*/ 1514475 w 1670050"/>
              <a:gd name="connsiteY37" fmla="*/ 1276350 h 1619250"/>
              <a:gd name="connsiteX38" fmla="*/ 1536700 w 1670050"/>
              <a:gd name="connsiteY38" fmla="*/ 1225550 h 1619250"/>
              <a:gd name="connsiteX39" fmla="*/ 1670050 w 1670050"/>
              <a:gd name="connsiteY39" fmla="*/ 1209675 h 161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670050" h="1619250">
                <a:moveTo>
                  <a:pt x="1670050" y="0"/>
                </a:moveTo>
                <a:lnTo>
                  <a:pt x="1533525" y="60325"/>
                </a:lnTo>
                <a:lnTo>
                  <a:pt x="1492250" y="82550"/>
                </a:lnTo>
                <a:lnTo>
                  <a:pt x="1447800" y="79375"/>
                </a:lnTo>
                <a:lnTo>
                  <a:pt x="1333500" y="76200"/>
                </a:lnTo>
                <a:lnTo>
                  <a:pt x="1292225" y="187325"/>
                </a:lnTo>
                <a:lnTo>
                  <a:pt x="1314450" y="250825"/>
                </a:lnTo>
                <a:lnTo>
                  <a:pt x="1158875" y="190500"/>
                </a:lnTo>
                <a:lnTo>
                  <a:pt x="898525" y="215900"/>
                </a:lnTo>
                <a:lnTo>
                  <a:pt x="457200" y="161925"/>
                </a:lnTo>
                <a:lnTo>
                  <a:pt x="304800" y="212725"/>
                </a:lnTo>
                <a:lnTo>
                  <a:pt x="193675" y="260350"/>
                </a:lnTo>
                <a:lnTo>
                  <a:pt x="206375" y="377825"/>
                </a:lnTo>
                <a:lnTo>
                  <a:pt x="285750" y="488950"/>
                </a:lnTo>
                <a:lnTo>
                  <a:pt x="111125" y="650875"/>
                </a:lnTo>
                <a:lnTo>
                  <a:pt x="88900" y="755650"/>
                </a:lnTo>
                <a:lnTo>
                  <a:pt x="107950" y="800100"/>
                </a:lnTo>
                <a:lnTo>
                  <a:pt x="66675" y="854075"/>
                </a:lnTo>
                <a:lnTo>
                  <a:pt x="0" y="955675"/>
                </a:lnTo>
                <a:lnTo>
                  <a:pt x="82550" y="1050925"/>
                </a:lnTo>
                <a:lnTo>
                  <a:pt x="263525" y="1069975"/>
                </a:lnTo>
                <a:lnTo>
                  <a:pt x="422275" y="1076325"/>
                </a:lnTo>
                <a:lnTo>
                  <a:pt x="571500" y="1111250"/>
                </a:lnTo>
                <a:lnTo>
                  <a:pt x="806450" y="987425"/>
                </a:lnTo>
                <a:lnTo>
                  <a:pt x="930275" y="949325"/>
                </a:lnTo>
                <a:lnTo>
                  <a:pt x="1168400" y="981075"/>
                </a:lnTo>
                <a:lnTo>
                  <a:pt x="1200150" y="1095375"/>
                </a:lnTo>
                <a:lnTo>
                  <a:pt x="1339850" y="1219200"/>
                </a:lnTo>
                <a:lnTo>
                  <a:pt x="1355725" y="1266825"/>
                </a:lnTo>
                <a:lnTo>
                  <a:pt x="1149350" y="1279525"/>
                </a:lnTo>
                <a:lnTo>
                  <a:pt x="1101725" y="1444625"/>
                </a:lnTo>
                <a:lnTo>
                  <a:pt x="1060450" y="1527175"/>
                </a:lnTo>
                <a:lnTo>
                  <a:pt x="1158875" y="1619250"/>
                </a:lnTo>
                <a:lnTo>
                  <a:pt x="1279525" y="1552575"/>
                </a:lnTo>
                <a:lnTo>
                  <a:pt x="1365250" y="1530350"/>
                </a:lnTo>
                <a:lnTo>
                  <a:pt x="1365250" y="1479550"/>
                </a:lnTo>
                <a:lnTo>
                  <a:pt x="1485900" y="1327150"/>
                </a:lnTo>
                <a:lnTo>
                  <a:pt x="1514475" y="1276350"/>
                </a:lnTo>
                <a:lnTo>
                  <a:pt x="1536700" y="1225550"/>
                </a:lnTo>
                <a:lnTo>
                  <a:pt x="1670050" y="120967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31" name="Freihandform 130"/>
          <p:cNvSpPr/>
          <p:nvPr/>
        </p:nvSpPr>
        <p:spPr bwMode="auto">
          <a:xfrm>
            <a:off x="2077025" y="3159517"/>
            <a:ext cx="705031" cy="1558525"/>
          </a:xfrm>
          <a:custGeom>
            <a:avLst/>
            <a:gdLst>
              <a:gd name="connsiteX0" fmla="*/ 0 w 819150"/>
              <a:gd name="connsiteY0" fmla="*/ 0 h 1755775"/>
              <a:gd name="connsiteX1" fmla="*/ 34925 w 819150"/>
              <a:gd name="connsiteY1" fmla="*/ 6350 h 1755775"/>
              <a:gd name="connsiteX2" fmla="*/ 38100 w 819150"/>
              <a:gd name="connsiteY2" fmla="*/ 34925 h 1755775"/>
              <a:gd name="connsiteX3" fmla="*/ 60325 w 819150"/>
              <a:gd name="connsiteY3" fmla="*/ 60325 h 1755775"/>
              <a:gd name="connsiteX4" fmla="*/ 63500 w 819150"/>
              <a:gd name="connsiteY4" fmla="*/ 69850 h 1755775"/>
              <a:gd name="connsiteX5" fmla="*/ 82550 w 819150"/>
              <a:gd name="connsiteY5" fmla="*/ 82550 h 1755775"/>
              <a:gd name="connsiteX6" fmla="*/ 92075 w 819150"/>
              <a:gd name="connsiteY6" fmla="*/ 101600 h 1755775"/>
              <a:gd name="connsiteX7" fmla="*/ 101600 w 819150"/>
              <a:gd name="connsiteY7" fmla="*/ 120650 h 1755775"/>
              <a:gd name="connsiteX8" fmla="*/ 130175 w 819150"/>
              <a:gd name="connsiteY8" fmla="*/ 123825 h 1755775"/>
              <a:gd name="connsiteX9" fmla="*/ 171450 w 819150"/>
              <a:gd name="connsiteY9" fmla="*/ 187325 h 1755775"/>
              <a:gd name="connsiteX10" fmla="*/ 234950 w 819150"/>
              <a:gd name="connsiteY10" fmla="*/ 257175 h 1755775"/>
              <a:gd name="connsiteX11" fmla="*/ 323850 w 819150"/>
              <a:gd name="connsiteY11" fmla="*/ 269875 h 1755775"/>
              <a:gd name="connsiteX12" fmla="*/ 339725 w 819150"/>
              <a:gd name="connsiteY12" fmla="*/ 355600 h 1755775"/>
              <a:gd name="connsiteX13" fmla="*/ 431800 w 819150"/>
              <a:gd name="connsiteY13" fmla="*/ 428625 h 1755775"/>
              <a:gd name="connsiteX14" fmla="*/ 606425 w 819150"/>
              <a:gd name="connsiteY14" fmla="*/ 482600 h 1755775"/>
              <a:gd name="connsiteX15" fmla="*/ 698500 w 819150"/>
              <a:gd name="connsiteY15" fmla="*/ 549275 h 1755775"/>
              <a:gd name="connsiteX16" fmla="*/ 819150 w 819150"/>
              <a:gd name="connsiteY16" fmla="*/ 587375 h 1755775"/>
              <a:gd name="connsiteX17" fmla="*/ 679450 w 819150"/>
              <a:gd name="connsiteY17" fmla="*/ 806450 h 1755775"/>
              <a:gd name="connsiteX18" fmla="*/ 622300 w 819150"/>
              <a:gd name="connsiteY18" fmla="*/ 882650 h 1755775"/>
              <a:gd name="connsiteX19" fmla="*/ 517525 w 819150"/>
              <a:gd name="connsiteY19" fmla="*/ 914400 h 1755775"/>
              <a:gd name="connsiteX20" fmla="*/ 400050 w 819150"/>
              <a:gd name="connsiteY20" fmla="*/ 1019175 h 1755775"/>
              <a:gd name="connsiteX21" fmla="*/ 355600 w 819150"/>
              <a:gd name="connsiteY21" fmla="*/ 1060450 h 1755775"/>
              <a:gd name="connsiteX22" fmla="*/ 469900 w 819150"/>
              <a:gd name="connsiteY22" fmla="*/ 1057275 h 1755775"/>
              <a:gd name="connsiteX23" fmla="*/ 552450 w 819150"/>
              <a:gd name="connsiteY23" fmla="*/ 1174750 h 1755775"/>
              <a:gd name="connsiteX24" fmla="*/ 466725 w 819150"/>
              <a:gd name="connsiteY24" fmla="*/ 1222375 h 1755775"/>
              <a:gd name="connsiteX25" fmla="*/ 533400 w 819150"/>
              <a:gd name="connsiteY25" fmla="*/ 1279525 h 1755775"/>
              <a:gd name="connsiteX26" fmla="*/ 428625 w 819150"/>
              <a:gd name="connsiteY26" fmla="*/ 1358900 h 1755775"/>
              <a:gd name="connsiteX27" fmla="*/ 428625 w 819150"/>
              <a:gd name="connsiteY27" fmla="*/ 1435100 h 1755775"/>
              <a:gd name="connsiteX28" fmla="*/ 457200 w 819150"/>
              <a:gd name="connsiteY28" fmla="*/ 1501775 h 1755775"/>
              <a:gd name="connsiteX29" fmla="*/ 596900 w 819150"/>
              <a:gd name="connsiteY29" fmla="*/ 1558925 h 1755775"/>
              <a:gd name="connsiteX30" fmla="*/ 517525 w 819150"/>
              <a:gd name="connsiteY30" fmla="*/ 1635125 h 1755775"/>
              <a:gd name="connsiteX31" fmla="*/ 469900 w 819150"/>
              <a:gd name="connsiteY31" fmla="*/ 1651000 h 1755775"/>
              <a:gd name="connsiteX32" fmla="*/ 441325 w 819150"/>
              <a:gd name="connsiteY32" fmla="*/ 1657350 h 1755775"/>
              <a:gd name="connsiteX33" fmla="*/ 406400 w 819150"/>
              <a:gd name="connsiteY33" fmla="*/ 1663700 h 1755775"/>
              <a:gd name="connsiteX34" fmla="*/ 368300 w 819150"/>
              <a:gd name="connsiteY34" fmla="*/ 1682750 h 1755775"/>
              <a:gd name="connsiteX35" fmla="*/ 358775 w 819150"/>
              <a:gd name="connsiteY35" fmla="*/ 1685925 h 1755775"/>
              <a:gd name="connsiteX36" fmla="*/ 342900 w 819150"/>
              <a:gd name="connsiteY36" fmla="*/ 1711325 h 1755775"/>
              <a:gd name="connsiteX37" fmla="*/ 333375 w 819150"/>
              <a:gd name="connsiteY37" fmla="*/ 1717675 h 1755775"/>
              <a:gd name="connsiteX38" fmla="*/ 323850 w 819150"/>
              <a:gd name="connsiteY38" fmla="*/ 1727200 h 1755775"/>
              <a:gd name="connsiteX39" fmla="*/ 304800 w 819150"/>
              <a:gd name="connsiteY39" fmla="*/ 1739900 h 1755775"/>
              <a:gd name="connsiteX40" fmla="*/ 285750 w 819150"/>
              <a:gd name="connsiteY40" fmla="*/ 1752600 h 1755775"/>
              <a:gd name="connsiteX41" fmla="*/ 263525 w 819150"/>
              <a:gd name="connsiteY41" fmla="*/ 1755775 h 1755775"/>
              <a:gd name="connsiteX42" fmla="*/ 171450 w 819150"/>
              <a:gd name="connsiteY42" fmla="*/ 1752600 h 1755775"/>
              <a:gd name="connsiteX43" fmla="*/ 161925 w 819150"/>
              <a:gd name="connsiteY43" fmla="*/ 1749425 h 1755775"/>
              <a:gd name="connsiteX44" fmla="*/ 142875 w 819150"/>
              <a:gd name="connsiteY44" fmla="*/ 1736725 h 1755775"/>
              <a:gd name="connsiteX45" fmla="*/ 120650 w 819150"/>
              <a:gd name="connsiteY45" fmla="*/ 1730375 h 1755775"/>
              <a:gd name="connsiteX46" fmla="*/ 101600 w 819150"/>
              <a:gd name="connsiteY46" fmla="*/ 1724025 h 1755775"/>
              <a:gd name="connsiteX47" fmla="*/ 92075 w 819150"/>
              <a:gd name="connsiteY47" fmla="*/ 1720850 h 1755775"/>
              <a:gd name="connsiteX48" fmla="*/ 82550 w 819150"/>
              <a:gd name="connsiteY48" fmla="*/ 1714500 h 1755775"/>
              <a:gd name="connsiteX49" fmla="*/ 95250 w 819150"/>
              <a:gd name="connsiteY49" fmla="*/ 1698625 h 1755775"/>
              <a:gd name="connsiteX50" fmla="*/ 101600 w 819150"/>
              <a:gd name="connsiteY50" fmla="*/ 1679575 h 1755775"/>
              <a:gd name="connsiteX51" fmla="*/ 98425 w 819150"/>
              <a:gd name="connsiteY51" fmla="*/ 1670050 h 1755775"/>
              <a:gd name="connsiteX52" fmla="*/ 88900 w 819150"/>
              <a:gd name="connsiteY52" fmla="*/ 1666875 h 1755775"/>
              <a:gd name="connsiteX53" fmla="*/ 15875 w 819150"/>
              <a:gd name="connsiteY53" fmla="*/ 1666875 h 1755775"/>
              <a:gd name="connsiteX54" fmla="*/ 19050 w 819150"/>
              <a:gd name="connsiteY54" fmla="*/ 1663700 h 1755775"/>
              <a:gd name="connsiteX0" fmla="*/ 7937 w 803275"/>
              <a:gd name="connsiteY0" fmla="*/ 0 h 1758156"/>
              <a:gd name="connsiteX1" fmla="*/ 19050 w 803275"/>
              <a:gd name="connsiteY1" fmla="*/ 8731 h 1758156"/>
              <a:gd name="connsiteX2" fmla="*/ 22225 w 803275"/>
              <a:gd name="connsiteY2" fmla="*/ 37306 h 1758156"/>
              <a:gd name="connsiteX3" fmla="*/ 44450 w 803275"/>
              <a:gd name="connsiteY3" fmla="*/ 62706 h 1758156"/>
              <a:gd name="connsiteX4" fmla="*/ 47625 w 803275"/>
              <a:gd name="connsiteY4" fmla="*/ 72231 h 1758156"/>
              <a:gd name="connsiteX5" fmla="*/ 66675 w 803275"/>
              <a:gd name="connsiteY5" fmla="*/ 84931 h 1758156"/>
              <a:gd name="connsiteX6" fmla="*/ 76200 w 803275"/>
              <a:gd name="connsiteY6" fmla="*/ 103981 h 1758156"/>
              <a:gd name="connsiteX7" fmla="*/ 85725 w 803275"/>
              <a:gd name="connsiteY7" fmla="*/ 123031 h 1758156"/>
              <a:gd name="connsiteX8" fmla="*/ 114300 w 803275"/>
              <a:gd name="connsiteY8" fmla="*/ 126206 h 1758156"/>
              <a:gd name="connsiteX9" fmla="*/ 155575 w 803275"/>
              <a:gd name="connsiteY9" fmla="*/ 189706 h 1758156"/>
              <a:gd name="connsiteX10" fmla="*/ 219075 w 803275"/>
              <a:gd name="connsiteY10" fmla="*/ 259556 h 1758156"/>
              <a:gd name="connsiteX11" fmla="*/ 307975 w 803275"/>
              <a:gd name="connsiteY11" fmla="*/ 272256 h 1758156"/>
              <a:gd name="connsiteX12" fmla="*/ 323850 w 803275"/>
              <a:gd name="connsiteY12" fmla="*/ 357981 h 1758156"/>
              <a:gd name="connsiteX13" fmla="*/ 415925 w 803275"/>
              <a:gd name="connsiteY13" fmla="*/ 431006 h 1758156"/>
              <a:gd name="connsiteX14" fmla="*/ 590550 w 803275"/>
              <a:gd name="connsiteY14" fmla="*/ 484981 h 1758156"/>
              <a:gd name="connsiteX15" fmla="*/ 682625 w 803275"/>
              <a:gd name="connsiteY15" fmla="*/ 551656 h 1758156"/>
              <a:gd name="connsiteX16" fmla="*/ 803275 w 803275"/>
              <a:gd name="connsiteY16" fmla="*/ 589756 h 1758156"/>
              <a:gd name="connsiteX17" fmla="*/ 663575 w 803275"/>
              <a:gd name="connsiteY17" fmla="*/ 808831 h 1758156"/>
              <a:gd name="connsiteX18" fmla="*/ 606425 w 803275"/>
              <a:gd name="connsiteY18" fmla="*/ 885031 h 1758156"/>
              <a:gd name="connsiteX19" fmla="*/ 501650 w 803275"/>
              <a:gd name="connsiteY19" fmla="*/ 916781 h 1758156"/>
              <a:gd name="connsiteX20" fmla="*/ 384175 w 803275"/>
              <a:gd name="connsiteY20" fmla="*/ 1021556 h 1758156"/>
              <a:gd name="connsiteX21" fmla="*/ 339725 w 803275"/>
              <a:gd name="connsiteY21" fmla="*/ 1062831 h 1758156"/>
              <a:gd name="connsiteX22" fmla="*/ 454025 w 803275"/>
              <a:gd name="connsiteY22" fmla="*/ 1059656 h 1758156"/>
              <a:gd name="connsiteX23" fmla="*/ 536575 w 803275"/>
              <a:gd name="connsiteY23" fmla="*/ 1177131 h 1758156"/>
              <a:gd name="connsiteX24" fmla="*/ 450850 w 803275"/>
              <a:gd name="connsiteY24" fmla="*/ 1224756 h 1758156"/>
              <a:gd name="connsiteX25" fmla="*/ 517525 w 803275"/>
              <a:gd name="connsiteY25" fmla="*/ 1281906 h 1758156"/>
              <a:gd name="connsiteX26" fmla="*/ 412750 w 803275"/>
              <a:gd name="connsiteY26" fmla="*/ 1361281 h 1758156"/>
              <a:gd name="connsiteX27" fmla="*/ 412750 w 803275"/>
              <a:gd name="connsiteY27" fmla="*/ 1437481 h 1758156"/>
              <a:gd name="connsiteX28" fmla="*/ 441325 w 803275"/>
              <a:gd name="connsiteY28" fmla="*/ 1504156 h 1758156"/>
              <a:gd name="connsiteX29" fmla="*/ 581025 w 803275"/>
              <a:gd name="connsiteY29" fmla="*/ 1561306 h 1758156"/>
              <a:gd name="connsiteX30" fmla="*/ 501650 w 803275"/>
              <a:gd name="connsiteY30" fmla="*/ 1637506 h 1758156"/>
              <a:gd name="connsiteX31" fmla="*/ 454025 w 803275"/>
              <a:gd name="connsiteY31" fmla="*/ 1653381 h 1758156"/>
              <a:gd name="connsiteX32" fmla="*/ 425450 w 803275"/>
              <a:gd name="connsiteY32" fmla="*/ 1659731 h 1758156"/>
              <a:gd name="connsiteX33" fmla="*/ 390525 w 803275"/>
              <a:gd name="connsiteY33" fmla="*/ 1666081 h 1758156"/>
              <a:gd name="connsiteX34" fmla="*/ 352425 w 803275"/>
              <a:gd name="connsiteY34" fmla="*/ 1685131 h 1758156"/>
              <a:gd name="connsiteX35" fmla="*/ 342900 w 803275"/>
              <a:gd name="connsiteY35" fmla="*/ 1688306 h 1758156"/>
              <a:gd name="connsiteX36" fmla="*/ 327025 w 803275"/>
              <a:gd name="connsiteY36" fmla="*/ 1713706 h 1758156"/>
              <a:gd name="connsiteX37" fmla="*/ 317500 w 803275"/>
              <a:gd name="connsiteY37" fmla="*/ 1720056 h 1758156"/>
              <a:gd name="connsiteX38" fmla="*/ 307975 w 803275"/>
              <a:gd name="connsiteY38" fmla="*/ 1729581 h 1758156"/>
              <a:gd name="connsiteX39" fmla="*/ 288925 w 803275"/>
              <a:gd name="connsiteY39" fmla="*/ 1742281 h 1758156"/>
              <a:gd name="connsiteX40" fmla="*/ 269875 w 803275"/>
              <a:gd name="connsiteY40" fmla="*/ 1754981 h 1758156"/>
              <a:gd name="connsiteX41" fmla="*/ 247650 w 803275"/>
              <a:gd name="connsiteY41" fmla="*/ 1758156 h 1758156"/>
              <a:gd name="connsiteX42" fmla="*/ 155575 w 803275"/>
              <a:gd name="connsiteY42" fmla="*/ 1754981 h 1758156"/>
              <a:gd name="connsiteX43" fmla="*/ 146050 w 803275"/>
              <a:gd name="connsiteY43" fmla="*/ 1751806 h 1758156"/>
              <a:gd name="connsiteX44" fmla="*/ 127000 w 803275"/>
              <a:gd name="connsiteY44" fmla="*/ 1739106 h 1758156"/>
              <a:gd name="connsiteX45" fmla="*/ 104775 w 803275"/>
              <a:gd name="connsiteY45" fmla="*/ 1732756 h 1758156"/>
              <a:gd name="connsiteX46" fmla="*/ 85725 w 803275"/>
              <a:gd name="connsiteY46" fmla="*/ 1726406 h 1758156"/>
              <a:gd name="connsiteX47" fmla="*/ 76200 w 803275"/>
              <a:gd name="connsiteY47" fmla="*/ 1723231 h 1758156"/>
              <a:gd name="connsiteX48" fmla="*/ 66675 w 803275"/>
              <a:gd name="connsiteY48" fmla="*/ 1716881 h 1758156"/>
              <a:gd name="connsiteX49" fmla="*/ 79375 w 803275"/>
              <a:gd name="connsiteY49" fmla="*/ 1701006 h 1758156"/>
              <a:gd name="connsiteX50" fmla="*/ 85725 w 803275"/>
              <a:gd name="connsiteY50" fmla="*/ 1681956 h 1758156"/>
              <a:gd name="connsiteX51" fmla="*/ 82550 w 803275"/>
              <a:gd name="connsiteY51" fmla="*/ 1672431 h 1758156"/>
              <a:gd name="connsiteX52" fmla="*/ 73025 w 803275"/>
              <a:gd name="connsiteY52" fmla="*/ 1669256 h 1758156"/>
              <a:gd name="connsiteX53" fmla="*/ 0 w 803275"/>
              <a:gd name="connsiteY53" fmla="*/ 1669256 h 1758156"/>
              <a:gd name="connsiteX54" fmla="*/ 3175 w 803275"/>
              <a:gd name="connsiteY54" fmla="*/ 1666081 h 1758156"/>
              <a:gd name="connsiteX0" fmla="*/ 7937 w 803275"/>
              <a:gd name="connsiteY0" fmla="*/ 0 h 1758156"/>
              <a:gd name="connsiteX1" fmla="*/ 19050 w 803275"/>
              <a:gd name="connsiteY1" fmla="*/ 8731 h 1758156"/>
              <a:gd name="connsiteX2" fmla="*/ 22225 w 803275"/>
              <a:gd name="connsiteY2" fmla="*/ 37306 h 1758156"/>
              <a:gd name="connsiteX3" fmla="*/ 44450 w 803275"/>
              <a:gd name="connsiteY3" fmla="*/ 62706 h 1758156"/>
              <a:gd name="connsiteX4" fmla="*/ 47625 w 803275"/>
              <a:gd name="connsiteY4" fmla="*/ 72231 h 1758156"/>
              <a:gd name="connsiteX5" fmla="*/ 66675 w 803275"/>
              <a:gd name="connsiteY5" fmla="*/ 84931 h 1758156"/>
              <a:gd name="connsiteX6" fmla="*/ 76200 w 803275"/>
              <a:gd name="connsiteY6" fmla="*/ 103981 h 1758156"/>
              <a:gd name="connsiteX7" fmla="*/ 85725 w 803275"/>
              <a:gd name="connsiteY7" fmla="*/ 123031 h 1758156"/>
              <a:gd name="connsiteX8" fmla="*/ 114300 w 803275"/>
              <a:gd name="connsiteY8" fmla="*/ 126206 h 1758156"/>
              <a:gd name="connsiteX9" fmla="*/ 155575 w 803275"/>
              <a:gd name="connsiteY9" fmla="*/ 189706 h 1758156"/>
              <a:gd name="connsiteX10" fmla="*/ 219075 w 803275"/>
              <a:gd name="connsiteY10" fmla="*/ 259556 h 1758156"/>
              <a:gd name="connsiteX11" fmla="*/ 307975 w 803275"/>
              <a:gd name="connsiteY11" fmla="*/ 272256 h 1758156"/>
              <a:gd name="connsiteX12" fmla="*/ 323850 w 803275"/>
              <a:gd name="connsiteY12" fmla="*/ 357981 h 1758156"/>
              <a:gd name="connsiteX13" fmla="*/ 415925 w 803275"/>
              <a:gd name="connsiteY13" fmla="*/ 431006 h 1758156"/>
              <a:gd name="connsiteX14" fmla="*/ 590550 w 803275"/>
              <a:gd name="connsiteY14" fmla="*/ 484981 h 1758156"/>
              <a:gd name="connsiteX15" fmla="*/ 682625 w 803275"/>
              <a:gd name="connsiteY15" fmla="*/ 551656 h 1758156"/>
              <a:gd name="connsiteX16" fmla="*/ 803275 w 803275"/>
              <a:gd name="connsiteY16" fmla="*/ 589756 h 1758156"/>
              <a:gd name="connsiteX17" fmla="*/ 663575 w 803275"/>
              <a:gd name="connsiteY17" fmla="*/ 808831 h 1758156"/>
              <a:gd name="connsiteX18" fmla="*/ 606425 w 803275"/>
              <a:gd name="connsiteY18" fmla="*/ 885031 h 1758156"/>
              <a:gd name="connsiteX19" fmla="*/ 501650 w 803275"/>
              <a:gd name="connsiteY19" fmla="*/ 916781 h 1758156"/>
              <a:gd name="connsiteX20" fmla="*/ 384175 w 803275"/>
              <a:gd name="connsiteY20" fmla="*/ 1021556 h 1758156"/>
              <a:gd name="connsiteX21" fmla="*/ 339725 w 803275"/>
              <a:gd name="connsiteY21" fmla="*/ 1062831 h 1758156"/>
              <a:gd name="connsiteX22" fmla="*/ 454025 w 803275"/>
              <a:gd name="connsiteY22" fmla="*/ 1059656 h 1758156"/>
              <a:gd name="connsiteX23" fmla="*/ 536575 w 803275"/>
              <a:gd name="connsiteY23" fmla="*/ 1177131 h 1758156"/>
              <a:gd name="connsiteX24" fmla="*/ 450850 w 803275"/>
              <a:gd name="connsiteY24" fmla="*/ 1224756 h 1758156"/>
              <a:gd name="connsiteX25" fmla="*/ 517525 w 803275"/>
              <a:gd name="connsiteY25" fmla="*/ 1281906 h 1758156"/>
              <a:gd name="connsiteX26" fmla="*/ 412750 w 803275"/>
              <a:gd name="connsiteY26" fmla="*/ 1361281 h 1758156"/>
              <a:gd name="connsiteX27" fmla="*/ 412750 w 803275"/>
              <a:gd name="connsiteY27" fmla="*/ 1437481 h 1758156"/>
              <a:gd name="connsiteX28" fmla="*/ 441325 w 803275"/>
              <a:gd name="connsiteY28" fmla="*/ 1504156 h 1758156"/>
              <a:gd name="connsiteX29" fmla="*/ 581025 w 803275"/>
              <a:gd name="connsiteY29" fmla="*/ 1561306 h 1758156"/>
              <a:gd name="connsiteX30" fmla="*/ 501650 w 803275"/>
              <a:gd name="connsiteY30" fmla="*/ 1637506 h 1758156"/>
              <a:gd name="connsiteX31" fmla="*/ 454025 w 803275"/>
              <a:gd name="connsiteY31" fmla="*/ 1653381 h 1758156"/>
              <a:gd name="connsiteX32" fmla="*/ 425450 w 803275"/>
              <a:gd name="connsiteY32" fmla="*/ 1659731 h 1758156"/>
              <a:gd name="connsiteX33" fmla="*/ 390525 w 803275"/>
              <a:gd name="connsiteY33" fmla="*/ 1666081 h 1758156"/>
              <a:gd name="connsiteX34" fmla="*/ 352425 w 803275"/>
              <a:gd name="connsiteY34" fmla="*/ 1685131 h 1758156"/>
              <a:gd name="connsiteX35" fmla="*/ 342900 w 803275"/>
              <a:gd name="connsiteY35" fmla="*/ 1688306 h 1758156"/>
              <a:gd name="connsiteX36" fmla="*/ 327025 w 803275"/>
              <a:gd name="connsiteY36" fmla="*/ 1713706 h 1758156"/>
              <a:gd name="connsiteX37" fmla="*/ 317500 w 803275"/>
              <a:gd name="connsiteY37" fmla="*/ 1720056 h 1758156"/>
              <a:gd name="connsiteX38" fmla="*/ 307975 w 803275"/>
              <a:gd name="connsiteY38" fmla="*/ 1729581 h 1758156"/>
              <a:gd name="connsiteX39" fmla="*/ 288925 w 803275"/>
              <a:gd name="connsiteY39" fmla="*/ 1742281 h 1758156"/>
              <a:gd name="connsiteX40" fmla="*/ 269875 w 803275"/>
              <a:gd name="connsiteY40" fmla="*/ 1754981 h 1758156"/>
              <a:gd name="connsiteX41" fmla="*/ 247650 w 803275"/>
              <a:gd name="connsiteY41" fmla="*/ 1758156 h 1758156"/>
              <a:gd name="connsiteX42" fmla="*/ 155575 w 803275"/>
              <a:gd name="connsiteY42" fmla="*/ 1754981 h 1758156"/>
              <a:gd name="connsiteX43" fmla="*/ 146050 w 803275"/>
              <a:gd name="connsiteY43" fmla="*/ 1751806 h 1758156"/>
              <a:gd name="connsiteX44" fmla="*/ 127000 w 803275"/>
              <a:gd name="connsiteY44" fmla="*/ 1739106 h 1758156"/>
              <a:gd name="connsiteX45" fmla="*/ 104775 w 803275"/>
              <a:gd name="connsiteY45" fmla="*/ 1732756 h 1758156"/>
              <a:gd name="connsiteX46" fmla="*/ 85725 w 803275"/>
              <a:gd name="connsiteY46" fmla="*/ 1726406 h 1758156"/>
              <a:gd name="connsiteX47" fmla="*/ 76200 w 803275"/>
              <a:gd name="connsiteY47" fmla="*/ 1723231 h 1758156"/>
              <a:gd name="connsiteX48" fmla="*/ 66675 w 803275"/>
              <a:gd name="connsiteY48" fmla="*/ 1716881 h 1758156"/>
              <a:gd name="connsiteX49" fmla="*/ 79375 w 803275"/>
              <a:gd name="connsiteY49" fmla="*/ 1701006 h 1758156"/>
              <a:gd name="connsiteX50" fmla="*/ 85725 w 803275"/>
              <a:gd name="connsiteY50" fmla="*/ 1681956 h 1758156"/>
              <a:gd name="connsiteX51" fmla="*/ 82550 w 803275"/>
              <a:gd name="connsiteY51" fmla="*/ 1672431 h 1758156"/>
              <a:gd name="connsiteX52" fmla="*/ 73025 w 803275"/>
              <a:gd name="connsiteY52" fmla="*/ 1669256 h 1758156"/>
              <a:gd name="connsiteX53" fmla="*/ 0 w 803275"/>
              <a:gd name="connsiteY53" fmla="*/ 1669256 h 1758156"/>
              <a:gd name="connsiteX0" fmla="*/ 0 w 795338"/>
              <a:gd name="connsiteY0" fmla="*/ 0 h 1758156"/>
              <a:gd name="connsiteX1" fmla="*/ 11113 w 795338"/>
              <a:gd name="connsiteY1" fmla="*/ 8731 h 1758156"/>
              <a:gd name="connsiteX2" fmla="*/ 14288 w 795338"/>
              <a:gd name="connsiteY2" fmla="*/ 37306 h 1758156"/>
              <a:gd name="connsiteX3" fmla="*/ 36513 w 795338"/>
              <a:gd name="connsiteY3" fmla="*/ 62706 h 1758156"/>
              <a:gd name="connsiteX4" fmla="*/ 39688 w 795338"/>
              <a:gd name="connsiteY4" fmla="*/ 72231 h 1758156"/>
              <a:gd name="connsiteX5" fmla="*/ 58738 w 795338"/>
              <a:gd name="connsiteY5" fmla="*/ 84931 h 1758156"/>
              <a:gd name="connsiteX6" fmla="*/ 68263 w 795338"/>
              <a:gd name="connsiteY6" fmla="*/ 103981 h 1758156"/>
              <a:gd name="connsiteX7" fmla="*/ 77788 w 795338"/>
              <a:gd name="connsiteY7" fmla="*/ 123031 h 1758156"/>
              <a:gd name="connsiteX8" fmla="*/ 106363 w 795338"/>
              <a:gd name="connsiteY8" fmla="*/ 126206 h 1758156"/>
              <a:gd name="connsiteX9" fmla="*/ 147638 w 795338"/>
              <a:gd name="connsiteY9" fmla="*/ 189706 h 1758156"/>
              <a:gd name="connsiteX10" fmla="*/ 211138 w 795338"/>
              <a:gd name="connsiteY10" fmla="*/ 259556 h 1758156"/>
              <a:gd name="connsiteX11" fmla="*/ 300038 w 795338"/>
              <a:gd name="connsiteY11" fmla="*/ 272256 h 1758156"/>
              <a:gd name="connsiteX12" fmla="*/ 315913 w 795338"/>
              <a:gd name="connsiteY12" fmla="*/ 357981 h 1758156"/>
              <a:gd name="connsiteX13" fmla="*/ 407988 w 795338"/>
              <a:gd name="connsiteY13" fmla="*/ 431006 h 1758156"/>
              <a:gd name="connsiteX14" fmla="*/ 582613 w 795338"/>
              <a:gd name="connsiteY14" fmla="*/ 484981 h 1758156"/>
              <a:gd name="connsiteX15" fmla="*/ 674688 w 795338"/>
              <a:gd name="connsiteY15" fmla="*/ 551656 h 1758156"/>
              <a:gd name="connsiteX16" fmla="*/ 795338 w 795338"/>
              <a:gd name="connsiteY16" fmla="*/ 589756 h 1758156"/>
              <a:gd name="connsiteX17" fmla="*/ 655638 w 795338"/>
              <a:gd name="connsiteY17" fmla="*/ 808831 h 1758156"/>
              <a:gd name="connsiteX18" fmla="*/ 598488 w 795338"/>
              <a:gd name="connsiteY18" fmla="*/ 885031 h 1758156"/>
              <a:gd name="connsiteX19" fmla="*/ 493713 w 795338"/>
              <a:gd name="connsiteY19" fmla="*/ 916781 h 1758156"/>
              <a:gd name="connsiteX20" fmla="*/ 376238 w 795338"/>
              <a:gd name="connsiteY20" fmla="*/ 1021556 h 1758156"/>
              <a:gd name="connsiteX21" fmla="*/ 331788 w 795338"/>
              <a:gd name="connsiteY21" fmla="*/ 1062831 h 1758156"/>
              <a:gd name="connsiteX22" fmla="*/ 446088 w 795338"/>
              <a:gd name="connsiteY22" fmla="*/ 1059656 h 1758156"/>
              <a:gd name="connsiteX23" fmla="*/ 528638 w 795338"/>
              <a:gd name="connsiteY23" fmla="*/ 1177131 h 1758156"/>
              <a:gd name="connsiteX24" fmla="*/ 442913 w 795338"/>
              <a:gd name="connsiteY24" fmla="*/ 1224756 h 1758156"/>
              <a:gd name="connsiteX25" fmla="*/ 509588 w 795338"/>
              <a:gd name="connsiteY25" fmla="*/ 1281906 h 1758156"/>
              <a:gd name="connsiteX26" fmla="*/ 404813 w 795338"/>
              <a:gd name="connsiteY26" fmla="*/ 1361281 h 1758156"/>
              <a:gd name="connsiteX27" fmla="*/ 404813 w 795338"/>
              <a:gd name="connsiteY27" fmla="*/ 1437481 h 1758156"/>
              <a:gd name="connsiteX28" fmla="*/ 433388 w 795338"/>
              <a:gd name="connsiteY28" fmla="*/ 1504156 h 1758156"/>
              <a:gd name="connsiteX29" fmla="*/ 573088 w 795338"/>
              <a:gd name="connsiteY29" fmla="*/ 1561306 h 1758156"/>
              <a:gd name="connsiteX30" fmla="*/ 493713 w 795338"/>
              <a:gd name="connsiteY30" fmla="*/ 1637506 h 1758156"/>
              <a:gd name="connsiteX31" fmla="*/ 446088 w 795338"/>
              <a:gd name="connsiteY31" fmla="*/ 1653381 h 1758156"/>
              <a:gd name="connsiteX32" fmla="*/ 417513 w 795338"/>
              <a:gd name="connsiteY32" fmla="*/ 1659731 h 1758156"/>
              <a:gd name="connsiteX33" fmla="*/ 382588 w 795338"/>
              <a:gd name="connsiteY33" fmla="*/ 1666081 h 1758156"/>
              <a:gd name="connsiteX34" fmla="*/ 344488 w 795338"/>
              <a:gd name="connsiteY34" fmla="*/ 1685131 h 1758156"/>
              <a:gd name="connsiteX35" fmla="*/ 334963 w 795338"/>
              <a:gd name="connsiteY35" fmla="*/ 1688306 h 1758156"/>
              <a:gd name="connsiteX36" fmla="*/ 319088 w 795338"/>
              <a:gd name="connsiteY36" fmla="*/ 1713706 h 1758156"/>
              <a:gd name="connsiteX37" fmla="*/ 309563 w 795338"/>
              <a:gd name="connsiteY37" fmla="*/ 1720056 h 1758156"/>
              <a:gd name="connsiteX38" fmla="*/ 300038 w 795338"/>
              <a:gd name="connsiteY38" fmla="*/ 1729581 h 1758156"/>
              <a:gd name="connsiteX39" fmla="*/ 280988 w 795338"/>
              <a:gd name="connsiteY39" fmla="*/ 1742281 h 1758156"/>
              <a:gd name="connsiteX40" fmla="*/ 261938 w 795338"/>
              <a:gd name="connsiteY40" fmla="*/ 1754981 h 1758156"/>
              <a:gd name="connsiteX41" fmla="*/ 239713 w 795338"/>
              <a:gd name="connsiteY41" fmla="*/ 1758156 h 1758156"/>
              <a:gd name="connsiteX42" fmla="*/ 147638 w 795338"/>
              <a:gd name="connsiteY42" fmla="*/ 1754981 h 1758156"/>
              <a:gd name="connsiteX43" fmla="*/ 138113 w 795338"/>
              <a:gd name="connsiteY43" fmla="*/ 1751806 h 1758156"/>
              <a:gd name="connsiteX44" fmla="*/ 119063 w 795338"/>
              <a:gd name="connsiteY44" fmla="*/ 1739106 h 1758156"/>
              <a:gd name="connsiteX45" fmla="*/ 96838 w 795338"/>
              <a:gd name="connsiteY45" fmla="*/ 1732756 h 1758156"/>
              <a:gd name="connsiteX46" fmla="*/ 77788 w 795338"/>
              <a:gd name="connsiteY46" fmla="*/ 1726406 h 1758156"/>
              <a:gd name="connsiteX47" fmla="*/ 68263 w 795338"/>
              <a:gd name="connsiteY47" fmla="*/ 1723231 h 1758156"/>
              <a:gd name="connsiteX48" fmla="*/ 58738 w 795338"/>
              <a:gd name="connsiteY48" fmla="*/ 1716881 h 1758156"/>
              <a:gd name="connsiteX49" fmla="*/ 71438 w 795338"/>
              <a:gd name="connsiteY49" fmla="*/ 1701006 h 1758156"/>
              <a:gd name="connsiteX50" fmla="*/ 77788 w 795338"/>
              <a:gd name="connsiteY50" fmla="*/ 1681956 h 1758156"/>
              <a:gd name="connsiteX51" fmla="*/ 74613 w 795338"/>
              <a:gd name="connsiteY51" fmla="*/ 1672431 h 1758156"/>
              <a:gd name="connsiteX52" fmla="*/ 65088 w 795338"/>
              <a:gd name="connsiteY52" fmla="*/ 1669256 h 1758156"/>
              <a:gd name="connsiteX53" fmla="*/ 1588 w 795338"/>
              <a:gd name="connsiteY53" fmla="*/ 1671638 h 1758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795338" h="1758156">
                <a:moveTo>
                  <a:pt x="0" y="0"/>
                </a:moveTo>
                <a:lnTo>
                  <a:pt x="11113" y="8731"/>
                </a:lnTo>
                <a:cubicBezTo>
                  <a:pt x="12171" y="18256"/>
                  <a:pt x="11257" y="28214"/>
                  <a:pt x="14288" y="37306"/>
                </a:cubicBezTo>
                <a:cubicBezTo>
                  <a:pt x="19580" y="53181"/>
                  <a:pt x="25400" y="55298"/>
                  <a:pt x="36513" y="62706"/>
                </a:cubicBezTo>
                <a:cubicBezTo>
                  <a:pt x="37571" y="65881"/>
                  <a:pt x="37321" y="69864"/>
                  <a:pt x="39688" y="72231"/>
                </a:cubicBezTo>
                <a:cubicBezTo>
                  <a:pt x="45084" y="77627"/>
                  <a:pt x="58738" y="84931"/>
                  <a:pt x="58738" y="84931"/>
                </a:cubicBezTo>
                <a:cubicBezTo>
                  <a:pt x="66718" y="108872"/>
                  <a:pt x="55953" y="79362"/>
                  <a:pt x="68263" y="103981"/>
                </a:cubicBezTo>
                <a:cubicBezTo>
                  <a:pt x="71033" y="109522"/>
                  <a:pt x="71419" y="119391"/>
                  <a:pt x="77788" y="123031"/>
                </a:cubicBezTo>
                <a:cubicBezTo>
                  <a:pt x="84797" y="127036"/>
                  <a:pt x="98478" y="126206"/>
                  <a:pt x="106363" y="126206"/>
                </a:cubicBezTo>
                <a:lnTo>
                  <a:pt x="147638" y="189706"/>
                </a:lnTo>
                <a:lnTo>
                  <a:pt x="211138" y="259556"/>
                </a:lnTo>
                <a:lnTo>
                  <a:pt x="300038" y="272256"/>
                </a:lnTo>
                <a:lnTo>
                  <a:pt x="315913" y="357981"/>
                </a:lnTo>
                <a:lnTo>
                  <a:pt x="407988" y="431006"/>
                </a:lnTo>
                <a:lnTo>
                  <a:pt x="582613" y="484981"/>
                </a:lnTo>
                <a:lnTo>
                  <a:pt x="674688" y="551656"/>
                </a:lnTo>
                <a:lnTo>
                  <a:pt x="795338" y="589756"/>
                </a:lnTo>
                <a:lnTo>
                  <a:pt x="655638" y="808831"/>
                </a:lnTo>
                <a:lnTo>
                  <a:pt x="598488" y="885031"/>
                </a:lnTo>
                <a:lnTo>
                  <a:pt x="493713" y="916781"/>
                </a:lnTo>
                <a:lnTo>
                  <a:pt x="376238" y="1021556"/>
                </a:lnTo>
                <a:lnTo>
                  <a:pt x="331788" y="1062831"/>
                </a:lnTo>
                <a:lnTo>
                  <a:pt x="446088" y="1059656"/>
                </a:lnTo>
                <a:lnTo>
                  <a:pt x="528638" y="1177131"/>
                </a:lnTo>
                <a:lnTo>
                  <a:pt x="442913" y="1224756"/>
                </a:lnTo>
                <a:lnTo>
                  <a:pt x="509588" y="1281906"/>
                </a:lnTo>
                <a:lnTo>
                  <a:pt x="404813" y="1361281"/>
                </a:lnTo>
                <a:lnTo>
                  <a:pt x="404813" y="1437481"/>
                </a:lnTo>
                <a:lnTo>
                  <a:pt x="433388" y="1504156"/>
                </a:lnTo>
                <a:lnTo>
                  <a:pt x="573088" y="1561306"/>
                </a:lnTo>
                <a:lnTo>
                  <a:pt x="493713" y="1637506"/>
                </a:lnTo>
                <a:lnTo>
                  <a:pt x="446088" y="1653381"/>
                </a:lnTo>
                <a:cubicBezTo>
                  <a:pt x="436563" y="1655498"/>
                  <a:pt x="427122" y="1658035"/>
                  <a:pt x="417513" y="1659731"/>
                </a:cubicBezTo>
                <a:cubicBezTo>
                  <a:pt x="379368" y="1666462"/>
                  <a:pt x="403904" y="1658976"/>
                  <a:pt x="382588" y="1666081"/>
                </a:cubicBezTo>
                <a:cubicBezTo>
                  <a:pt x="357969" y="1682494"/>
                  <a:pt x="370778" y="1676368"/>
                  <a:pt x="344488" y="1685131"/>
                </a:cubicBezTo>
                <a:lnTo>
                  <a:pt x="334963" y="1688306"/>
                </a:lnTo>
                <a:cubicBezTo>
                  <a:pt x="319869" y="1698369"/>
                  <a:pt x="326645" y="1691036"/>
                  <a:pt x="319088" y="1713706"/>
                </a:cubicBezTo>
                <a:cubicBezTo>
                  <a:pt x="317881" y="1717326"/>
                  <a:pt x="312494" y="1717613"/>
                  <a:pt x="309563" y="1720056"/>
                </a:cubicBezTo>
                <a:cubicBezTo>
                  <a:pt x="306114" y="1722931"/>
                  <a:pt x="303582" y="1726824"/>
                  <a:pt x="300038" y="1729581"/>
                </a:cubicBezTo>
                <a:cubicBezTo>
                  <a:pt x="294014" y="1734266"/>
                  <a:pt x="287338" y="1738048"/>
                  <a:pt x="280988" y="1742281"/>
                </a:cubicBezTo>
                <a:lnTo>
                  <a:pt x="261938" y="1754981"/>
                </a:lnTo>
                <a:cubicBezTo>
                  <a:pt x="255711" y="1759132"/>
                  <a:pt x="247121" y="1757098"/>
                  <a:pt x="239713" y="1758156"/>
                </a:cubicBezTo>
                <a:cubicBezTo>
                  <a:pt x="209021" y="1757098"/>
                  <a:pt x="178288" y="1756897"/>
                  <a:pt x="147638" y="1754981"/>
                </a:cubicBezTo>
                <a:cubicBezTo>
                  <a:pt x="144298" y="1754772"/>
                  <a:pt x="141039" y="1753431"/>
                  <a:pt x="138113" y="1751806"/>
                </a:cubicBezTo>
                <a:cubicBezTo>
                  <a:pt x="131442" y="1748100"/>
                  <a:pt x="126303" y="1741519"/>
                  <a:pt x="119063" y="1739106"/>
                </a:cubicBezTo>
                <a:cubicBezTo>
                  <a:pt x="87052" y="1728436"/>
                  <a:pt x="136705" y="1744716"/>
                  <a:pt x="96838" y="1732756"/>
                </a:cubicBezTo>
                <a:cubicBezTo>
                  <a:pt x="90427" y="1730833"/>
                  <a:pt x="84138" y="1728523"/>
                  <a:pt x="77788" y="1726406"/>
                </a:cubicBezTo>
                <a:lnTo>
                  <a:pt x="68263" y="1723231"/>
                </a:lnTo>
                <a:cubicBezTo>
                  <a:pt x="65088" y="1721114"/>
                  <a:pt x="60155" y="1720424"/>
                  <a:pt x="58738" y="1716881"/>
                </a:cubicBezTo>
                <a:cubicBezTo>
                  <a:pt x="55509" y="1708809"/>
                  <a:pt x="67805" y="1703428"/>
                  <a:pt x="71438" y="1701006"/>
                </a:cubicBezTo>
                <a:cubicBezTo>
                  <a:pt x="73555" y="1694656"/>
                  <a:pt x="79905" y="1688306"/>
                  <a:pt x="77788" y="1681956"/>
                </a:cubicBezTo>
                <a:cubicBezTo>
                  <a:pt x="76730" y="1678781"/>
                  <a:pt x="76980" y="1674798"/>
                  <a:pt x="74613" y="1672431"/>
                </a:cubicBezTo>
                <a:cubicBezTo>
                  <a:pt x="72246" y="1670064"/>
                  <a:pt x="77259" y="1669388"/>
                  <a:pt x="65088" y="1669256"/>
                </a:cubicBezTo>
                <a:cubicBezTo>
                  <a:pt x="52917" y="1669124"/>
                  <a:pt x="25930" y="1671638"/>
                  <a:pt x="1588" y="1671638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32" name="Freeform 792"/>
          <p:cNvSpPr>
            <a:spLocks/>
          </p:cNvSpPr>
          <p:nvPr/>
        </p:nvSpPr>
        <p:spPr bwMode="auto">
          <a:xfrm>
            <a:off x="4896560" y="2402644"/>
            <a:ext cx="1279437" cy="897614"/>
          </a:xfrm>
          <a:custGeom>
            <a:avLst/>
            <a:gdLst>
              <a:gd name="T0" fmla="*/ 188 w 214"/>
              <a:gd name="T1" fmla="*/ 70 h 179"/>
              <a:gd name="T2" fmla="*/ 213 w 214"/>
              <a:gd name="T3" fmla="*/ 87 h 179"/>
              <a:gd name="T4" fmla="*/ 201 w 214"/>
              <a:gd name="T5" fmla="*/ 102 h 179"/>
              <a:gd name="T6" fmla="*/ 186 w 214"/>
              <a:gd name="T7" fmla="*/ 98 h 179"/>
              <a:gd name="T8" fmla="*/ 181 w 214"/>
              <a:gd name="T9" fmla="*/ 109 h 179"/>
              <a:gd name="T10" fmla="*/ 191 w 214"/>
              <a:gd name="T11" fmla="*/ 126 h 179"/>
              <a:gd name="T12" fmla="*/ 196 w 214"/>
              <a:gd name="T13" fmla="*/ 140 h 179"/>
              <a:gd name="T14" fmla="*/ 196 w 214"/>
              <a:gd name="T15" fmla="*/ 140 h 179"/>
              <a:gd name="T16" fmla="*/ 187 w 214"/>
              <a:gd name="T17" fmla="*/ 141 h 179"/>
              <a:gd name="T18" fmla="*/ 176 w 214"/>
              <a:gd name="T19" fmla="*/ 155 h 179"/>
              <a:gd name="T20" fmla="*/ 180 w 214"/>
              <a:gd name="T21" fmla="*/ 170 h 179"/>
              <a:gd name="T22" fmla="*/ 172 w 214"/>
              <a:gd name="T23" fmla="*/ 177 h 179"/>
              <a:gd name="T24" fmla="*/ 162 w 214"/>
              <a:gd name="T25" fmla="*/ 170 h 179"/>
              <a:gd name="T26" fmla="*/ 142 w 214"/>
              <a:gd name="T27" fmla="*/ 167 h 179"/>
              <a:gd name="T28" fmla="*/ 128 w 214"/>
              <a:gd name="T29" fmla="*/ 171 h 179"/>
              <a:gd name="T30" fmla="*/ 98 w 214"/>
              <a:gd name="T31" fmla="*/ 168 h 179"/>
              <a:gd name="T32" fmla="*/ 67 w 214"/>
              <a:gd name="T33" fmla="*/ 163 h 179"/>
              <a:gd name="T34" fmla="*/ 37 w 214"/>
              <a:gd name="T35" fmla="*/ 163 h 179"/>
              <a:gd name="T36" fmla="*/ 24 w 214"/>
              <a:gd name="T37" fmla="*/ 176 h 179"/>
              <a:gd name="T38" fmla="*/ 14 w 214"/>
              <a:gd name="T39" fmla="*/ 176 h 179"/>
              <a:gd name="T40" fmla="*/ 14 w 214"/>
              <a:gd name="T41" fmla="*/ 164 h 179"/>
              <a:gd name="T42" fmla="*/ 4 w 214"/>
              <a:gd name="T43" fmla="*/ 154 h 179"/>
              <a:gd name="T44" fmla="*/ 8 w 214"/>
              <a:gd name="T45" fmla="*/ 142 h 179"/>
              <a:gd name="T46" fmla="*/ 20 w 214"/>
              <a:gd name="T47" fmla="*/ 137 h 179"/>
              <a:gd name="T48" fmla="*/ 17 w 214"/>
              <a:gd name="T49" fmla="*/ 118 h 179"/>
              <a:gd name="T50" fmla="*/ 8 w 214"/>
              <a:gd name="T51" fmla="*/ 93 h 179"/>
              <a:gd name="T52" fmla="*/ 27 w 214"/>
              <a:gd name="T53" fmla="*/ 93 h 179"/>
              <a:gd name="T54" fmla="*/ 44 w 214"/>
              <a:gd name="T55" fmla="*/ 80 h 179"/>
              <a:gd name="T56" fmla="*/ 57 w 214"/>
              <a:gd name="T57" fmla="*/ 58 h 179"/>
              <a:gd name="T58" fmla="*/ 67 w 214"/>
              <a:gd name="T59" fmla="*/ 45 h 179"/>
              <a:gd name="T60" fmla="*/ 74 w 214"/>
              <a:gd name="T61" fmla="*/ 34 h 179"/>
              <a:gd name="T62" fmla="*/ 72 w 214"/>
              <a:gd name="T63" fmla="*/ 22 h 179"/>
              <a:gd name="T64" fmla="*/ 92 w 214"/>
              <a:gd name="T65" fmla="*/ 10 h 179"/>
              <a:gd name="T66" fmla="*/ 100 w 214"/>
              <a:gd name="T67" fmla="*/ 0 h 179"/>
              <a:gd name="T68" fmla="*/ 112 w 214"/>
              <a:gd name="T69" fmla="*/ 4 h 179"/>
              <a:gd name="T70" fmla="*/ 140 w 214"/>
              <a:gd name="T71" fmla="*/ 9 h 179"/>
              <a:gd name="T72" fmla="*/ 157 w 214"/>
              <a:gd name="T73" fmla="*/ 17 h 179"/>
              <a:gd name="T74" fmla="*/ 163 w 214"/>
              <a:gd name="T75" fmla="*/ 44 h 179"/>
              <a:gd name="T76" fmla="*/ 188 w 214"/>
              <a:gd name="T77" fmla="*/ 7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4" h="179">
                <a:moveTo>
                  <a:pt x="188" y="70"/>
                </a:moveTo>
                <a:cubicBezTo>
                  <a:pt x="195" y="78"/>
                  <a:pt x="214" y="83"/>
                  <a:pt x="213" y="87"/>
                </a:cubicBezTo>
                <a:cubicBezTo>
                  <a:pt x="211" y="91"/>
                  <a:pt x="204" y="100"/>
                  <a:pt x="201" y="102"/>
                </a:cubicBezTo>
                <a:cubicBezTo>
                  <a:pt x="197" y="104"/>
                  <a:pt x="190" y="98"/>
                  <a:pt x="186" y="98"/>
                </a:cubicBezTo>
                <a:cubicBezTo>
                  <a:pt x="181" y="98"/>
                  <a:pt x="181" y="109"/>
                  <a:pt x="181" y="109"/>
                </a:cubicBezTo>
                <a:cubicBezTo>
                  <a:pt x="181" y="109"/>
                  <a:pt x="188" y="121"/>
                  <a:pt x="191" y="126"/>
                </a:cubicBezTo>
                <a:cubicBezTo>
                  <a:pt x="196" y="140"/>
                  <a:pt x="196" y="140"/>
                  <a:pt x="196" y="140"/>
                </a:cubicBezTo>
                <a:cubicBezTo>
                  <a:pt x="196" y="140"/>
                  <a:pt x="196" y="140"/>
                  <a:pt x="196" y="140"/>
                </a:cubicBezTo>
                <a:cubicBezTo>
                  <a:pt x="193" y="141"/>
                  <a:pt x="190" y="141"/>
                  <a:pt x="187" y="141"/>
                </a:cubicBezTo>
                <a:cubicBezTo>
                  <a:pt x="182" y="142"/>
                  <a:pt x="176" y="150"/>
                  <a:pt x="176" y="155"/>
                </a:cubicBezTo>
                <a:cubicBezTo>
                  <a:pt x="174" y="159"/>
                  <a:pt x="180" y="170"/>
                  <a:pt x="180" y="170"/>
                </a:cubicBezTo>
                <a:cubicBezTo>
                  <a:pt x="180" y="170"/>
                  <a:pt x="173" y="179"/>
                  <a:pt x="172" y="177"/>
                </a:cubicBezTo>
                <a:cubicBezTo>
                  <a:pt x="170" y="175"/>
                  <a:pt x="165" y="173"/>
                  <a:pt x="162" y="170"/>
                </a:cubicBezTo>
                <a:cubicBezTo>
                  <a:pt x="158" y="167"/>
                  <a:pt x="146" y="167"/>
                  <a:pt x="142" y="167"/>
                </a:cubicBezTo>
                <a:cubicBezTo>
                  <a:pt x="138" y="167"/>
                  <a:pt x="133" y="171"/>
                  <a:pt x="128" y="171"/>
                </a:cubicBezTo>
                <a:cubicBezTo>
                  <a:pt x="124" y="172"/>
                  <a:pt x="104" y="170"/>
                  <a:pt x="98" y="168"/>
                </a:cubicBezTo>
                <a:cubicBezTo>
                  <a:pt x="91" y="166"/>
                  <a:pt x="73" y="163"/>
                  <a:pt x="67" y="163"/>
                </a:cubicBezTo>
                <a:cubicBezTo>
                  <a:pt x="62" y="162"/>
                  <a:pt x="42" y="163"/>
                  <a:pt x="37" y="163"/>
                </a:cubicBezTo>
                <a:cubicBezTo>
                  <a:pt x="32" y="163"/>
                  <a:pt x="28" y="176"/>
                  <a:pt x="24" y="176"/>
                </a:cubicBezTo>
                <a:cubicBezTo>
                  <a:pt x="20" y="176"/>
                  <a:pt x="14" y="176"/>
                  <a:pt x="14" y="176"/>
                </a:cubicBezTo>
                <a:cubicBezTo>
                  <a:pt x="14" y="170"/>
                  <a:pt x="14" y="164"/>
                  <a:pt x="14" y="164"/>
                </a:cubicBezTo>
                <a:cubicBezTo>
                  <a:pt x="14" y="164"/>
                  <a:pt x="9" y="156"/>
                  <a:pt x="4" y="154"/>
                </a:cubicBezTo>
                <a:cubicBezTo>
                  <a:pt x="0" y="152"/>
                  <a:pt x="2" y="146"/>
                  <a:pt x="8" y="142"/>
                </a:cubicBezTo>
                <a:cubicBezTo>
                  <a:pt x="12" y="139"/>
                  <a:pt x="19" y="139"/>
                  <a:pt x="20" y="137"/>
                </a:cubicBezTo>
                <a:cubicBezTo>
                  <a:pt x="21" y="134"/>
                  <a:pt x="20" y="124"/>
                  <a:pt x="17" y="118"/>
                </a:cubicBezTo>
                <a:cubicBezTo>
                  <a:pt x="14" y="111"/>
                  <a:pt x="8" y="98"/>
                  <a:pt x="8" y="93"/>
                </a:cubicBezTo>
                <a:cubicBezTo>
                  <a:pt x="8" y="93"/>
                  <a:pt x="23" y="97"/>
                  <a:pt x="27" y="93"/>
                </a:cubicBezTo>
                <a:cubicBezTo>
                  <a:pt x="27" y="93"/>
                  <a:pt x="39" y="83"/>
                  <a:pt x="44" y="80"/>
                </a:cubicBezTo>
                <a:cubicBezTo>
                  <a:pt x="50" y="77"/>
                  <a:pt x="56" y="62"/>
                  <a:pt x="57" y="58"/>
                </a:cubicBezTo>
                <a:cubicBezTo>
                  <a:pt x="58" y="54"/>
                  <a:pt x="62" y="46"/>
                  <a:pt x="67" y="45"/>
                </a:cubicBezTo>
                <a:cubicBezTo>
                  <a:pt x="72" y="43"/>
                  <a:pt x="74" y="34"/>
                  <a:pt x="74" y="34"/>
                </a:cubicBezTo>
                <a:cubicBezTo>
                  <a:pt x="74" y="34"/>
                  <a:pt x="70" y="25"/>
                  <a:pt x="72" y="22"/>
                </a:cubicBezTo>
                <a:cubicBezTo>
                  <a:pt x="74" y="19"/>
                  <a:pt x="88" y="14"/>
                  <a:pt x="92" y="10"/>
                </a:cubicBezTo>
                <a:cubicBezTo>
                  <a:pt x="94" y="7"/>
                  <a:pt x="99" y="4"/>
                  <a:pt x="100" y="0"/>
                </a:cubicBezTo>
                <a:cubicBezTo>
                  <a:pt x="112" y="4"/>
                  <a:pt x="112" y="4"/>
                  <a:pt x="112" y="4"/>
                </a:cubicBezTo>
                <a:cubicBezTo>
                  <a:pt x="112" y="4"/>
                  <a:pt x="134" y="9"/>
                  <a:pt x="140" y="9"/>
                </a:cubicBezTo>
                <a:cubicBezTo>
                  <a:pt x="146" y="9"/>
                  <a:pt x="151" y="8"/>
                  <a:pt x="157" y="17"/>
                </a:cubicBezTo>
                <a:cubicBezTo>
                  <a:pt x="163" y="26"/>
                  <a:pt x="163" y="38"/>
                  <a:pt x="163" y="44"/>
                </a:cubicBezTo>
                <a:cubicBezTo>
                  <a:pt x="164" y="51"/>
                  <a:pt x="181" y="62"/>
                  <a:pt x="188" y="7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3" name="Freeform 793"/>
          <p:cNvSpPr>
            <a:spLocks/>
          </p:cNvSpPr>
          <p:nvPr/>
        </p:nvSpPr>
        <p:spPr bwMode="auto">
          <a:xfrm>
            <a:off x="5476955" y="3832375"/>
            <a:ext cx="545124" cy="534805"/>
          </a:xfrm>
          <a:custGeom>
            <a:avLst/>
            <a:gdLst>
              <a:gd name="T0" fmla="*/ 85 w 91"/>
              <a:gd name="T1" fmla="*/ 55 h 107"/>
              <a:gd name="T2" fmla="*/ 91 w 91"/>
              <a:gd name="T3" fmla="*/ 70 h 107"/>
              <a:gd name="T4" fmla="*/ 67 w 91"/>
              <a:gd name="T5" fmla="*/ 69 h 107"/>
              <a:gd name="T6" fmla="*/ 65 w 91"/>
              <a:gd name="T7" fmla="*/ 80 h 107"/>
              <a:gd name="T8" fmla="*/ 57 w 91"/>
              <a:gd name="T9" fmla="*/ 98 h 107"/>
              <a:gd name="T10" fmla="*/ 49 w 91"/>
              <a:gd name="T11" fmla="*/ 107 h 107"/>
              <a:gd name="T12" fmla="*/ 43 w 91"/>
              <a:gd name="T13" fmla="*/ 101 h 107"/>
              <a:gd name="T14" fmla="*/ 43 w 91"/>
              <a:gd name="T15" fmla="*/ 76 h 107"/>
              <a:gd name="T16" fmla="*/ 37 w 91"/>
              <a:gd name="T17" fmla="*/ 55 h 107"/>
              <a:gd name="T18" fmla="*/ 19 w 91"/>
              <a:gd name="T19" fmla="*/ 37 h 107"/>
              <a:gd name="T20" fmla="*/ 6 w 91"/>
              <a:gd name="T21" fmla="*/ 16 h 107"/>
              <a:gd name="T22" fmla="*/ 0 w 91"/>
              <a:gd name="T23" fmla="*/ 8 h 107"/>
              <a:gd name="T24" fmla="*/ 20 w 91"/>
              <a:gd name="T25" fmla="*/ 1 h 107"/>
              <a:gd name="T26" fmla="*/ 44 w 91"/>
              <a:gd name="T27" fmla="*/ 9 h 107"/>
              <a:gd name="T28" fmla="*/ 63 w 91"/>
              <a:gd name="T29" fmla="*/ 14 h 107"/>
              <a:gd name="T30" fmla="*/ 63 w 91"/>
              <a:gd name="T31" fmla="*/ 31 h 107"/>
              <a:gd name="T32" fmla="*/ 75 w 91"/>
              <a:gd name="T33" fmla="*/ 46 h 107"/>
              <a:gd name="T34" fmla="*/ 85 w 91"/>
              <a:gd name="T35" fmla="*/ 55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1" h="107">
                <a:moveTo>
                  <a:pt x="85" y="55"/>
                </a:moveTo>
                <a:cubicBezTo>
                  <a:pt x="87" y="58"/>
                  <a:pt x="91" y="67"/>
                  <a:pt x="91" y="70"/>
                </a:cubicBezTo>
                <a:cubicBezTo>
                  <a:pt x="91" y="73"/>
                  <a:pt x="70" y="69"/>
                  <a:pt x="67" y="69"/>
                </a:cubicBezTo>
                <a:cubicBezTo>
                  <a:pt x="65" y="69"/>
                  <a:pt x="67" y="75"/>
                  <a:pt x="65" y="80"/>
                </a:cubicBezTo>
                <a:cubicBezTo>
                  <a:pt x="63" y="86"/>
                  <a:pt x="60" y="95"/>
                  <a:pt x="57" y="98"/>
                </a:cubicBezTo>
                <a:cubicBezTo>
                  <a:pt x="55" y="100"/>
                  <a:pt x="50" y="103"/>
                  <a:pt x="49" y="107"/>
                </a:cubicBezTo>
                <a:cubicBezTo>
                  <a:pt x="43" y="101"/>
                  <a:pt x="43" y="101"/>
                  <a:pt x="43" y="101"/>
                </a:cubicBezTo>
                <a:cubicBezTo>
                  <a:pt x="43" y="95"/>
                  <a:pt x="41" y="83"/>
                  <a:pt x="43" y="76"/>
                </a:cubicBezTo>
                <a:cubicBezTo>
                  <a:pt x="45" y="70"/>
                  <a:pt x="39" y="59"/>
                  <a:pt x="37" y="55"/>
                </a:cubicBezTo>
                <a:cubicBezTo>
                  <a:pt x="35" y="51"/>
                  <a:pt x="21" y="42"/>
                  <a:pt x="19" y="37"/>
                </a:cubicBezTo>
                <a:cubicBezTo>
                  <a:pt x="17" y="33"/>
                  <a:pt x="6" y="16"/>
                  <a:pt x="6" y="16"/>
                </a:cubicBezTo>
                <a:cubicBezTo>
                  <a:pt x="0" y="8"/>
                  <a:pt x="0" y="8"/>
                  <a:pt x="0" y="8"/>
                </a:cubicBezTo>
                <a:cubicBezTo>
                  <a:pt x="5" y="5"/>
                  <a:pt x="14" y="0"/>
                  <a:pt x="20" y="1"/>
                </a:cubicBezTo>
                <a:cubicBezTo>
                  <a:pt x="27" y="1"/>
                  <a:pt x="38" y="9"/>
                  <a:pt x="44" y="9"/>
                </a:cubicBezTo>
                <a:cubicBezTo>
                  <a:pt x="50" y="9"/>
                  <a:pt x="59" y="8"/>
                  <a:pt x="63" y="14"/>
                </a:cubicBezTo>
                <a:cubicBezTo>
                  <a:pt x="65" y="20"/>
                  <a:pt x="61" y="29"/>
                  <a:pt x="63" y="31"/>
                </a:cubicBezTo>
                <a:cubicBezTo>
                  <a:pt x="65" y="34"/>
                  <a:pt x="71" y="44"/>
                  <a:pt x="75" y="46"/>
                </a:cubicBezTo>
                <a:cubicBezTo>
                  <a:pt x="78" y="48"/>
                  <a:pt x="83" y="53"/>
                  <a:pt x="85" y="5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4" name="Freeform 796"/>
          <p:cNvSpPr>
            <a:spLocks/>
          </p:cNvSpPr>
          <p:nvPr/>
        </p:nvSpPr>
        <p:spPr bwMode="auto">
          <a:xfrm>
            <a:off x="5505814" y="5028298"/>
            <a:ext cx="490611" cy="346683"/>
          </a:xfrm>
          <a:custGeom>
            <a:avLst/>
            <a:gdLst>
              <a:gd name="T0" fmla="*/ 16 w 82"/>
              <a:gd name="T1" fmla="*/ 50 h 69"/>
              <a:gd name="T2" fmla="*/ 0 w 82"/>
              <a:gd name="T3" fmla="*/ 52 h 69"/>
              <a:gd name="T4" fmla="*/ 0 w 82"/>
              <a:gd name="T5" fmla="*/ 52 h 69"/>
              <a:gd name="T6" fmla="*/ 8 w 82"/>
              <a:gd name="T7" fmla="*/ 42 h 69"/>
              <a:gd name="T8" fmla="*/ 14 w 82"/>
              <a:gd name="T9" fmla="*/ 26 h 69"/>
              <a:gd name="T10" fmla="*/ 5 w 82"/>
              <a:gd name="T11" fmla="*/ 9 h 69"/>
              <a:gd name="T12" fmla="*/ 25 w 82"/>
              <a:gd name="T13" fmla="*/ 2 h 69"/>
              <a:gd name="T14" fmla="*/ 41 w 82"/>
              <a:gd name="T15" fmla="*/ 4 h 69"/>
              <a:gd name="T16" fmla="*/ 51 w 82"/>
              <a:gd name="T17" fmla="*/ 0 h 69"/>
              <a:gd name="T18" fmla="*/ 51 w 82"/>
              <a:gd name="T19" fmla="*/ 4 h 69"/>
              <a:gd name="T20" fmla="*/ 60 w 82"/>
              <a:gd name="T21" fmla="*/ 18 h 69"/>
              <a:gd name="T22" fmla="*/ 79 w 82"/>
              <a:gd name="T23" fmla="*/ 23 h 69"/>
              <a:gd name="T24" fmla="*/ 75 w 82"/>
              <a:gd name="T25" fmla="*/ 33 h 69"/>
              <a:gd name="T26" fmla="*/ 59 w 82"/>
              <a:gd name="T27" fmla="*/ 33 h 69"/>
              <a:gd name="T28" fmla="*/ 42 w 82"/>
              <a:gd name="T29" fmla="*/ 39 h 69"/>
              <a:gd name="T30" fmla="*/ 34 w 82"/>
              <a:gd name="T31" fmla="*/ 48 h 69"/>
              <a:gd name="T32" fmla="*/ 28 w 82"/>
              <a:gd name="T33" fmla="*/ 53 h 69"/>
              <a:gd name="T34" fmla="*/ 10 w 82"/>
              <a:gd name="T35" fmla="*/ 63 h 69"/>
              <a:gd name="T36" fmla="*/ 6 w 82"/>
              <a:gd name="T37" fmla="*/ 67 h 69"/>
              <a:gd name="T38" fmla="*/ 0 w 82"/>
              <a:gd name="T39" fmla="*/ 66 h 69"/>
              <a:gd name="T40" fmla="*/ 16 w 82"/>
              <a:gd name="T41" fmla="*/ 5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2" h="69">
                <a:moveTo>
                  <a:pt x="16" y="50"/>
                </a:moveTo>
                <a:cubicBezTo>
                  <a:pt x="15" y="44"/>
                  <a:pt x="4" y="56"/>
                  <a:pt x="0" y="52"/>
                </a:cubicBezTo>
                <a:cubicBezTo>
                  <a:pt x="0" y="52"/>
                  <a:pt x="0" y="52"/>
                  <a:pt x="0" y="52"/>
                </a:cubicBezTo>
                <a:cubicBezTo>
                  <a:pt x="3" y="48"/>
                  <a:pt x="6" y="44"/>
                  <a:pt x="8" y="42"/>
                </a:cubicBezTo>
                <a:cubicBezTo>
                  <a:pt x="10" y="40"/>
                  <a:pt x="14" y="34"/>
                  <a:pt x="14" y="26"/>
                </a:cubicBezTo>
                <a:cubicBezTo>
                  <a:pt x="14" y="18"/>
                  <a:pt x="5" y="9"/>
                  <a:pt x="5" y="9"/>
                </a:cubicBezTo>
                <a:cubicBezTo>
                  <a:pt x="13" y="4"/>
                  <a:pt x="19" y="3"/>
                  <a:pt x="25" y="2"/>
                </a:cubicBezTo>
                <a:cubicBezTo>
                  <a:pt x="30" y="0"/>
                  <a:pt x="37" y="6"/>
                  <a:pt x="41" y="4"/>
                </a:cubicBezTo>
                <a:cubicBezTo>
                  <a:pt x="42" y="4"/>
                  <a:pt x="47" y="2"/>
                  <a:pt x="51" y="0"/>
                </a:cubicBezTo>
                <a:cubicBezTo>
                  <a:pt x="51" y="2"/>
                  <a:pt x="51" y="3"/>
                  <a:pt x="51" y="4"/>
                </a:cubicBezTo>
                <a:cubicBezTo>
                  <a:pt x="51" y="9"/>
                  <a:pt x="55" y="17"/>
                  <a:pt x="60" y="18"/>
                </a:cubicBezTo>
                <a:cubicBezTo>
                  <a:pt x="64" y="18"/>
                  <a:pt x="77" y="23"/>
                  <a:pt x="79" y="23"/>
                </a:cubicBezTo>
                <a:cubicBezTo>
                  <a:pt x="82" y="24"/>
                  <a:pt x="79" y="33"/>
                  <a:pt x="75" y="33"/>
                </a:cubicBezTo>
                <a:cubicBezTo>
                  <a:pt x="72" y="34"/>
                  <a:pt x="63" y="31"/>
                  <a:pt x="59" y="33"/>
                </a:cubicBezTo>
                <a:cubicBezTo>
                  <a:pt x="54" y="35"/>
                  <a:pt x="46" y="35"/>
                  <a:pt x="42" y="39"/>
                </a:cubicBezTo>
                <a:cubicBezTo>
                  <a:pt x="39" y="42"/>
                  <a:pt x="34" y="48"/>
                  <a:pt x="34" y="48"/>
                </a:cubicBezTo>
                <a:cubicBezTo>
                  <a:pt x="34" y="48"/>
                  <a:pt x="31" y="51"/>
                  <a:pt x="28" y="53"/>
                </a:cubicBezTo>
                <a:cubicBezTo>
                  <a:pt x="25" y="55"/>
                  <a:pt x="14" y="60"/>
                  <a:pt x="10" y="63"/>
                </a:cubicBezTo>
                <a:cubicBezTo>
                  <a:pt x="6" y="65"/>
                  <a:pt x="9" y="66"/>
                  <a:pt x="6" y="67"/>
                </a:cubicBezTo>
                <a:cubicBezTo>
                  <a:pt x="3" y="69"/>
                  <a:pt x="1" y="69"/>
                  <a:pt x="0" y="66"/>
                </a:cubicBezTo>
                <a:cubicBezTo>
                  <a:pt x="0" y="63"/>
                  <a:pt x="17" y="52"/>
                  <a:pt x="16" y="50"/>
                </a:cubicBezTo>
                <a:close/>
              </a:path>
            </a:pathLst>
          </a:custGeom>
          <a:solidFill>
            <a:schemeClr val="tx2"/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5" name="Freeform 797"/>
          <p:cNvSpPr>
            <a:spLocks/>
          </p:cNvSpPr>
          <p:nvPr/>
        </p:nvSpPr>
        <p:spPr bwMode="auto">
          <a:xfrm>
            <a:off x="4595138" y="2080148"/>
            <a:ext cx="904263" cy="432681"/>
          </a:xfrm>
          <a:custGeom>
            <a:avLst/>
            <a:gdLst>
              <a:gd name="T0" fmla="*/ 139 w 151"/>
              <a:gd name="T1" fmla="*/ 38 h 86"/>
              <a:gd name="T2" fmla="*/ 150 w 151"/>
              <a:gd name="T3" fmla="*/ 61 h 86"/>
              <a:gd name="T4" fmla="*/ 150 w 151"/>
              <a:gd name="T5" fmla="*/ 64 h 86"/>
              <a:gd name="T6" fmla="*/ 142 w 151"/>
              <a:gd name="T7" fmla="*/ 74 h 86"/>
              <a:gd name="T8" fmla="*/ 122 w 151"/>
              <a:gd name="T9" fmla="*/ 86 h 86"/>
              <a:gd name="T10" fmla="*/ 112 w 151"/>
              <a:gd name="T11" fmla="*/ 83 h 86"/>
              <a:gd name="T12" fmla="*/ 100 w 151"/>
              <a:gd name="T13" fmla="*/ 72 h 86"/>
              <a:gd name="T14" fmla="*/ 88 w 151"/>
              <a:gd name="T15" fmla="*/ 69 h 86"/>
              <a:gd name="T16" fmla="*/ 80 w 151"/>
              <a:gd name="T17" fmla="*/ 59 h 86"/>
              <a:gd name="T18" fmla="*/ 66 w 151"/>
              <a:gd name="T19" fmla="*/ 67 h 86"/>
              <a:gd name="T20" fmla="*/ 34 w 151"/>
              <a:gd name="T21" fmla="*/ 65 h 86"/>
              <a:gd name="T22" fmla="*/ 16 w 151"/>
              <a:gd name="T23" fmla="*/ 69 h 86"/>
              <a:gd name="T24" fmla="*/ 2 w 151"/>
              <a:gd name="T25" fmla="*/ 73 h 86"/>
              <a:gd name="T26" fmla="*/ 0 w 151"/>
              <a:gd name="T27" fmla="*/ 65 h 86"/>
              <a:gd name="T28" fmla="*/ 2 w 151"/>
              <a:gd name="T29" fmla="*/ 50 h 86"/>
              <a:gd name="T30" fmla="*/ 9 w 151"/>
              <a:gd name="T31" fmla="*/ 43 h 86"/>
              <a:gd name="T32" fmla="*/ 10 w 151"/>
              <a:gd name="T33" fmla="*/ 32 h 86"/>
              <a:gd name="T34" fmla="*/ 15 w 151"/>
              <a:gd name="T35" fmla="*/ 22 h 86"/>
              <a:gd name="T36" fmla="*/ 22 w 151"/>
              <a:gd name="T37" fmla="*/ 20 h 86"/>
              <a:gd name="T38" fmla="*/ 33 w 151"/>
              <a:gd name="T39" fmla="*/ 14 h 86"/>
              <a:gd name="T40" fmla="*/ 35 w 151"/>
              <a:gd name="T41" fmla="*/ 21 h 86"/>
              <a:gd name="T42" fmla="*/ 44 w 151"/>
              <a:gd name="T43" fmla="*/ 29 h 86"/>
              <a:gd name="T44" fmla="*/ 48 w 151"/>
              <a:gd name="T45" fmla="*/ 39 h 86"/>
              <a:gd name="T46" fmla="*/ 59 w 151"/>
              <a:gd name="T47" fmla="*/ 42 h 86"/>
              <a:gd name="T48" fmla="*/ 70 w 151"/>
              <a:gd name="T49" fmla="*/ 31 h 86"/>
              <a:gd name="T50" fmla="*/ 67 w 151"/>
              <a:gd name="T51" fmla="*/ 13 h 86"/>
              <a:gd name="T52" fmla="*/ 68 w 151"/>
              <a:gd name="T53" fmla="*/ 6 h 86"/>
              <a:gd name="T54" fmla="*/ 76 w 151"/>
              <a:gd name="T55" fmla="*/ 4 h 86"/>
              <a:gd name="T56" fmla="*/ 91 w 151"/>
              <a:gd name="T57" fmla="*/ 2 h 86"/>
              <a:gd name="T58" fmla="*/ 108 w 151"/>
              <a:gd name="T59" fmla="*/ 18 h 86"/>
              <a:gd name="T60" fmla="*/ 118 w 151"/>
              <a:gd name="T61" fmla="*/ 14 h 86"/>
              <a:gd name="T62" fmla="*/ 128 w 151"/>
              <a:gd name="T63" fmla="*/ 14 h 86"/>
              <a:gd name="T64" fmla="*/ 128 w 151"/>
              <a:gd name="T65" fmla="*/ 14 h 86"/>
              <a:gd name="T66" fmla="*/ 138 w 151"/>
              <a:gd name="T67" fmla="*/ 24 h 86"/>
              <a:gd name="T68" fmla="*/ 139 w 151"/>
              <a:gd name="T69" fmla="*/ 38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1" h="86">
                <a:moveTo>
                  <a:pt x="139" y="38"/>
                </a:moveTo>
                <a:cubicBezTo>
                  <a:pt x="140" y="45"/>
                  <a:pt x="150" y="56"/>
                  <a:pt x="150" y="61"/>
                </a:cubicBezTo>
                <a:cubicBezTo>
                  <a:pt x="151" y="62"/>
                  <a:pt x="151" y="63"/>
                  <a:pt x="150" y="64"/>
                </a:cubicBezTo>
                <a:cubicBezTo>
                  <a:pt x="149" y="68"/>
                  <a:pt x="144" y="71"/>
                  <a:pt x="142" y="74"/>
                </a:cubicBezTo>
                <a:cubicBezTo>
                  <a:pt x="138" y="78"/>
                  <a:pt x="124" y="83"/>
                  <a:pt x="122" y="86"/>
                </a:cubicBezTo>
                <a:cubicBezTo>
                  <a:pt x="112" y="83"/>
                  <a:pt x="112" y="83"/>
                  <a:pt x="112" y="83"/>
                </a:cubicBezTo>
                <a:cubicBezTo>
                  <a:pt x="108" y="80"/>
                  <a:pt x="106" y="73"/>
                  <a:pt x="100" y="72"/>
                </a:cubicBezTo>
                <a:cubicBezTo>
                  <a:pt x="96" y="70"/>
                  <a:pt x="88" y="69"/>
                  <a:pt x="88" y="69"/>
                </a:cubicBezTo>
                <a:cubicBezTo>
                  <a:pt x="88" y="69"/>
                  <a:pt x="84" y="60"/>
                  <a:pt x="80" y="59"/>
                </a:cubicBezTo>
                <a:cubicBezTo>
                  <a:pt x="78" y="58"/>
                  <a:pt x="70" y="68"/>
                  <a:pt x="66" y="67"/>
                </a:cubicBezTo>
                <a:cubicBezTo>
                  <a:pt x="62" y="66"/>
                  <a:pt x="40" y="65"/>
                  <a:pt x="34" y="65"/>
                </a:cubicBezTo>
                <a:cubicBezTo>
                  <a:pt x="28" y="65"/>
                  <a:pt x="20" y="68"/>
                  <a:pt x="16" y="69"/>
                </a:cubicBezTo>
                <a:cubicBezTo>
                  <a:pt x="14" y="70"/>
                  <a:pt x="8" y="72"/>
                  <a:pt x="2" y="73"/>
                </a:cubicBezTo>
                <a:cubicBezTo>
                  <a:pt x="1" y="70"/>
                  <a:pt x="0" y="67"/>
                  <a:pt x="0" y="65"/>
                </a:cubicBezTo>
                <a:cubicBezTo>
                  <a:pt x="0" y="61"/>
                  <a:pt x="1" y="53"/>
                  <a:pt x="2" y="50"/>
                </a:cubicBezTo>
                <a:cubicBezTo>
                  <a:pt x="4" y="47"/>
                  <a:pt x="8" y="45"/>
                  <a:pt x="9" y="43"/>
                </a:cubicBezTo>
                <a:cubicBezTo>
                  <a:pt x="9" y="41"/>
                  <a:pt x="9" y="34"/>
                  <a:pt x="10" y="32"/>
                </a:cubicBezTo>
                <a:cubicBezTo>
                  <a:pt x="12" y="29"/>
                  <a:pt x="12" y="24"/>
                  <a:pt x="15" y="22"/>
                </a:cubicBezTo>
                <a:cubicBezTo>
                  <a:pt x="18" y="21"/>
                  <a:pt x="21" y="20"/>
                  <a:pt x="22" y="20"/>
                </a:cubicBezTo>
                <a:cubicBezTo>
                  <a:pt x="23" y="19"/>
                  <a:pt x="31" y="12"/>
                  <a:pt x="33" y="14"/>
                </a:cubicBezTo>
                <a:cubicBezTo>
                  <a:pt x="35" y="15"/>
                  <a:pt x="33" y="20"/>
                  <a:pt x="35" y="21"/>
                </a:cubicBezTo>
                <a:cubicBezTo>
                  <a:pt x="37" y="22"/>
                  <a:pt x="43" y="26"/>
                  <a:pt x="44" y="29"/>
                </a:cubicBezTo>
                <a:cubicBezTo>
                  <a:pt x="45" y="31"/>
                  <a:pt x="45" y="37"/>
                  <a:pt x="48" y="39"/>
                </a:cubicBezTo>
                <a:cubicBezTo>
                  <a:pt x="52" y="42"/>
                  <a:pt x="54" y="43"/>
                  <a:pt x="59" y="42"/>
                </a:cubicBezTo>
                <a:cubicBezTo>
                  <a:pt x="63" y="40"/>
                  <a:pt x="70" y="36"/>
                  <a:pt x="70" y="31"/>
                </a:cubicBezTo>
                <a:cubicBezTo>
                  <a:pt x="70" y="27"/>
                  <a:pt x="67" y="18"/>
                  <a:pt x="67" y="13"/>
                </a:cubicBezTo>
                <a:cubicBezTo>
                  <a:pt x="67" y="10"/>
                  <a:pt x="67" y="8"/>
                  <a:pt x="68" y="6"/>
                </a:cubicBezTo>
                <a:cubicBezTo>
                  <a:pt x="72" y="5"/>
                  <a:pt x="76" y="4"/>
                  <a:pt x="76" y="4"/>
                </a:cubicBezTo>
                <a:cubicBezTo>
                  <a:pt x="78" y="4"/>
                  <a:pt x="83" y="0"/>
                  <a:pt x="91" y="2"/>
                </a:cubicBezTo>
                <a:cubicBezTo>
                  <a:pt x="99" y="4"/>
                  <a:pt x="106" y="16"/>
                  <a:pt x="108" y="18"/>
                </a:cubicBezTo>
                <a:cubicBezTo>
                  <a:pt x="110" y="20"/>
                  <a:pt x="114" y="14"/>
                  <a:pt x="118" y="14"/>
                </a:cubicBezTo>
                <a:cubicBezTo>
                  <a:pt x="128" y="14"/>
                  <a:pt x="128" y="14"/>
                  <a:pt x="128" y="14"/>
                </a:cubicBezTo>
                <a:cubicBezTo>
                  <a:pt x="128" y="14"/>
                  <a:pt x="128" y="14"/>
                  <a:pt x="128" y="14"/>
                </a:cubicBezTo>
                <a:cubicBezTo>
                  <a:pt x="130" y="18"/>
                  <a:pt x="138" y="23"/>
                  <a:pt x="138" y="24"/>
                </a:cubicBezTo>
                <a:cubicBezTo>
                  <a:pt x="138" y="26"/>
                  <a:pt x="138" y="32"/>
                  <a:pt x="139" y="3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6" name="Freeform 799"/>
          <p:cNvSpPr>
            <a:spLocks/>
          </p:cNvSpPr>
          <p:nvPr/>
        </p:nvSpPr>
        <p:spPr bwMode="auto">
          <a:xfrm>
            <a:off x="4607964" y="2373081"/>
            <a:ext cx="731106" cy="515993"/>
          </a:xfrm>
          <a:custGeom>
            <a:avLst/>
            <a:gdLst>
              <a:gd name="T0" fmla="*/ 122 w 122"/>
              <a:gd name="T1" fmla="*/ 40 h 103"/>
              <a:gd name="T2" fmla="*/ 115 w 122"/>
              <a:gd name="T3" fmla="*/ 51 h 103"/>
              <a:gd name="T4" fmla="*/ 105 w 122"/>
              <a:gd name="T5" fmla="*/ 64 h 103"/>
              <a:gd name="T6" fmla="*/ 92 w 122"/>
              <a:gd name="T7" fmla="*/ 86 h 103"/>
              <a:gd name="T8" fmla="*/ 75 w 122"/>
              <a:gd name="T9" fmla="*/ 99 h 103"/>
              <a:gd name="T10" fmla="*/ 56 w 122"/>
              <a:gd name="T11" fmla="*/ 99 h 103"/>
              <a:gd name="T12" fmla="*/ 48 w 122"/>
              <a:gd name="T13" fmla="*/ 84 h 103"/>
              <a:gd name="T14" fmla="*/ 36 w 122"/>
              <a:gd name="T15" fmla="*/ 73 h 103"/>
              <a:gd name="T16" fmla="*/ 37 w 122"/>
              <a:gd name="T17" fmla="*/ 61 h 103"/>
              <a:gd name="T18" fmla="*/ 20 w 122"/>
              <a:gd name="T19" fmla="*/ 56 h 103"/>
              <a:gd name="T20" fmla="*/ 0 w 122"/>
              <a:gd name="T21" fmla="*/ 46 h 103"/>
              <a:gd name="T22" fmla="*/ 2 w 122"/>
              <a:gd name="T23" fmla="*/ 40 h 103"/>
              <a:gd name="T24" fmla="*/ 1 w 122"/>
              <a:gd name="T25" fmla="*/ 24 h 103"/>
              <a:gd name="T26" fmla="*/ 0 w 122"/>
              <a:gd name="T27" fmla="*/ 15 h 103"/>
              <a:gd name="T28" fmla="*/ 14 w 122"/>
              <a:gd name="T29" fmla="*/ 11 h 103"/>
              <a:gd name="T30" fmla="*/ 32 w 122"/>
              <a:gd name="T31" fmla="*/ 7 h 103"/>
              <a:gd name="T32" fmla="*/ 64 w 122"/>
              <a:gd name="T33" fmla="*/ 9 h 103"/>
              <a:gd name="T34" fmla="*/ 78 w 122"/>
              <a:gd name="T35" fmla="*/ 1 h 103"/>
              <a:gd name="T36" fmla="*/ 86 w 122"/>
              <a:gd name="T37" fmla="*/ 11 h 103"/>
              <a:gd name="T38" fmla="*/ 98 w 122"/>
              <a:gd name="T39" fmla="*/ 14 h 103"/>
              <a:gd name="T40" fmla="*/ 110 w 122"/>
              <a:gd name="T41" fmla="*/ 25 h 103"/>
              <a:gd name="T42" fmla="*/ 120 w 122"/>
              <a:gd name="T43" fmla="*/ 28 h 103"/>
              <a:gd name="T44" fmla="*/ 122 w 122"/>
              <a:gd name="T45" fmla="*/ 4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22" h="103">
                <a:moveTo>
                  <a:pt x="122" y="40"/>
                </a:moveTo>
                <a:cubicBezTo>
                  <a:pt x="122" y="40"/>
                  <a:pt x="120" y="49"/>
                  <a:pt x="115" y="51"/>
                </a:cubicBezTo>
                <a:cubicBezTo>
                  <a:pt x="110" y="52"/>
                  <a:pt x="106" y="60"/>
                  <a:pt x="105" y="64"/>
                </a:cubicBezTo>
                <a:cubicBezTo>
                  <a:pt x="104" y="68"/>
                  <a:pt x="98" y="83"/>
                  <a:pt x="92" y="86"/>
                </a:cubicBezTo>
                <a:cubicBezTo>
                  <a:pt x="87" y="89"/>
                  <a:pt x="75" y="99"/>
                  <a:pt x="75" y="99"/>
                </a:cubicBezTo>
                <a:cubicBezTo>
                  <a:pt x="71" y="103"/>
                  <a:pt x="56" y="99"/>
                  <a:pt x="56" y="99"/>
                </a:cubicBezTo>
                <a:cubicBezTo>
                  <a:pt x="56" y="93"/>
                  <a:pt x="56" y="87"/>
                  <a:pt x="48" y="84"/>
                </a:cubicBezTo>
                <a:cubicBezTo>
                  <a:pt x="40" y="82"/>
                  <a:pt x="36" y="76"/>
                  <a:pt x="36" y="73"/>
                </a:cubicBezTo>
                <a:cubicBezTo>
                  <a:pt x="36" y="71"/>
                  <a:pt x="40" y="65"/>
                  <a:pt x="37" y="61"/>
                </a:cubicBezTo>
                <a:cubicBezTo>
                  <a:pt x="34" y="57"/>
                  <a:pt x="27" y="60"/>
                  <a:pt x="20" y="56"/>
                </a:cubicBezTo>
                <a:cubicBezTo>
                  <a:pt x="16" y="54"/>
                  <a:pt x="8" y="50"/>
                  <a:pt x="0" y="46"/>
                </a:cubicBezTo>
                <a:cubicBezTo>
                  <a:pt x="1" y="44"/>
                  <a:pt x="2" y="42"/>
                  <a:pt x="2" y="40"/>
                </a:cubicBezTo>
                <a:cubicBezTo>
                  <a:pt x="2" y="36"/>
                  <a:pt x="2" y="30"/>
                  <a:pt x="1" y="24"/>
                </a:cubicBezTo>
                <a:cubicBezTo>
                  <a:pt x="1" y="21"/>
                  <a:pt x="0" y="18"/>
                  <a:pt x="0" y="15"/>
                </a:cubicBezTo>
                <a:cubicBezTo>
                  <a:pt x="6" y="14"/>
                  <a:pt x="12" y="12"/>
                  <a:pt x="14" y="11"/>
                </a:cubicBezTo>
                <a:cubicBezTo>
                  <a:pt x="18" y="10"/>
                  <a:pt x="26" y="7"/>
                  <a:pt x="32" y="7"/>
                </a:cubicBezTo>
                <a:cubicBezTo>
                  <a:pt x="38" y="7"/>
                  <a:pt x="60" y="8"/>
                  <a:pt x="64" y="9"/>
                </a:cubicBezTo>
                <a:cubicBezTo>
                  <a:pt x="68" y="10"/>
                  <a:pt x="76" y="0"/>
                  <a:pt x="78" y="1"/>
                </a:cubicBezTo>
                <a:cubicBezTo>
                  <a:pt x="82" y="2"/>
                  <a:pt x="86" y="11"/>
                  <a:pt x="86" y="11"/>
                </a:cubicBezTo>
                <a:cubicBezTo>
                  <a:pt x="86" y="11"/>
                  <a:pt x="94" y="12"/>
                  <a:pt x="98" y="14"/>
                </a:cubicBezTo>
                <a:cubicBezTo>
                  <a:pt x="104" y="15"/>
                  <a:pt x="106" y="22"/>
                  <a:pt x="110" y="25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1"/>
                  <a:pt x="122" y="40"/>
                  <a:pt x="122" y="4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7" name="Freeform 801"/>
          <p:cNvSpPr>
            <a:spLocks/>
          </p:cNvSpPr>
          <p:nvPr/>
        </p:nvSpPr>
        <p:spPr bwMode="auto">
          <a:xfrm>
            <a:off x="4553451" y="5009485"/>
            <a:ext cx="426480" cy="295620"/>
          </a:xfrm>
          <a:custGeom>
            <a:avLst/>
            <a:gdLst>
              <a:gd name="T0" fmla="*/ 70 w 71"/>
              <a:gd name="T1" fmla="*/ 28 h 59"/>
              <a:gd name="T2" fmla="*/ 71 w 71"/>
              <a:gd name="T3" fmla="*/ 42 h 59"/>
              <a:gd name="T4" fmla="*/ 64 w 71"/>
              <a:gd name="T5" fmla="*/ 45 h 59"/>
              <a:gd name="T6" fmla="*/ 48 w 71"/>
              <a:gd name="T7" fmla="*/ 46 h 59"/>
              <a:gd name="T8" fmla="*/ 25 w 71"/>
              <a:gd name="T9" fmla="*/ 56 h 59"/>
              <a:gd name="T10" fmla="*/ 15 w 71"/>
              <a:gd name="T11" fmla="*/ 59 h 59"/>
              <a:gd name="T12" fmla="*/ 4 w 71"/>
              <a:gd name="T13" fmla="*/ 42 h 59"/>
              <a:gd name="T14" fmla="*/ 6 w 71"/>
              <a:gd name="T15" fmla="*/ 18 h 59"/>
              <a:gd name="T16" fmla="*/ 5 w 71"/>
              <a:gd name="T17" fmla="*/ 13 h 59"/>
              <a:gd name="T18" fmla="*/ 17 w 71"/>
              <a:gd name="T19" fmla="*/ 10 h 59"/>
              <a:gd name="T20" fmla="*/ 41 w 71"/>
              <a:gd name="T21" fmla="*/ 2 h 59"/>
              <a:gd name="T22" fmla="*/ 51 w 71"/>
              <a:gd name="T23" fmla="*/ 0 h 59"/>
              <a:gd name="T24" fmla="*/ 64 w 71"/>
              <a:gd name="T25" fmla="*/ 13 h 59"/>
              <a:gd name="T26" fmla="*/ 70 w 71"/>
              <a:gd name="T27" fmla="*/ 28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1" h="59">
                <a:moveTo>
                  <a:pt x="70" y="28"/>
                </a:moveTo>
                <a:cubicBezTo>
                  <a:pt x="71" y="42"/>
                  <a:pt x="71" y="42"/>
                  <a:pt x="71" y="42"/>
                </a:cubicBezTo>
                <a:cubicBezTo>
                  <a:pt x="67" y="43"/>
                  <a:pt x="65" y="45"/>
                  <a:pt x="64" y="45"/>
                </a:cubicBezTo>
                <a:cubicBezTo>
                  <a:pt x="60" y="46"/>
                  <a:pt x="52" y="46"/>
                  <a:pt x="48" y="46"/>
                </a:cubicBezTo>
                <a:cubicBezTo>
                  <a:pt x="44" y="46"/>
                  <a:pt x="31" y="54"/>
                  <a:pt x="25" y="56"/>
                </a:cubicBezTo>
                <a:cubicBezTo>
                  <a:pt x="15" y="59"/>
                  <a:pt x="15" y="59"/>
                  <a:pt x="15" y="59"/>
                </a:cubicBezTo>
                <a:cubicBezTo>
                  <a:pt x="12" y="55"/>
                  <a:pt x="8" y="46"/>
                  <a:pt x="4" y="42"/>
                </a:cubicBezTo>
                <a:cubicBezTo>
                  <a:pt x="0" y="38"/>
                  <a:pt x="5" y="27"/>
                  <a:pt x="6" y="18"/>
                </a:cubicBezTo>
                <a:cubicBezTo>
                  <a:pt x="6" y="17"/>
                  <a:pt x="6" y="15"/>
                  <a:pt x="5" y="13"/>
                </a:cubicBezTo>
                <a:cubicBezTo>
                  <a:pt x="17" y="10"/>
                  <a:pt x="17" y="10"/>
                  <a:pt x="17" y="10"/>
                </a:cubicBezTo>
                <a:cubicBezTo>
                  <a:pt x="41" y="2"/>
                  <a:pt x="41" y="2"/>
                  <a:pt x="41" y="2"/>
                </a:cubicBezTo>
                <a:cubicBezTo>
                  <a:pt x="51" y="0"/>
                  <a:pt x="51" y="0"/>
                  <a:pt x="51" y="0"/>
                </a:cubicBezTo>
                <a:cubicBezTo>
                  <a:pt x="47" y="6"/>
                  <a:pt x="64" y="13"/>
                  <a:pt x="64" y="13"/>
                </a:cubicBezTo>
                <a:cubicBezTo>
                  <a:pt x="64" y="13"/>
                  <a:pt x="70" y="23"/>
                  <a:pt x="70" y="2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8" name="Freeform 805"/>
          <p:cNvSpPr>
            <a:spLocks/>
          </p:cNvSpPr>
          <p:nvPr/>
        </p:nvSpPr>
        <p:spPr bwMode="auto">
          <a:xfrm>
            <a:off x="5002797" y="2070495"/>
            <a:ext cx="386453" cy="103762"/>
          </a:xfrm>
          <a:custGeom>
            <a:avLst/>
            <a:gdLst>
              <a:gd name="connsiteX0" fmla="*/ 152467 w 184949"/>
              <a:gd name="connsiteY0" fmla="*/ 0 h 49603"/>
              <a:gd name="connsiteX1" fmla="*/ 153749 w 184949"/>
              <a:gd name="connsiteY1" fmla="*/ 2892 h 49603"/>
              <a:gd name="connsiteX2" fmla="*/ 141738 w 184949"/>
              <a:gd name="connsiteY2" fmla="*/ 31774 h 49603"/>
              <a:gd name="connsiteX3" fmla="*/ 144140 w 184949"/>
              <a:gd name="connsiteY3" fmla="*/ 38994 h 49603"/>
              <a:gd name="connsiteX4" fmla="*/ 120116 w 184949"/>
              <a:gd name="connsiteY4" fmla="*/ 38994 h 49603"/>
              <a:gd name="connsiteX5" fmla="*/ 96093 w 184949"/>
              <a:gd name="connsiteY5" fmla="*/ 48621 h 49603"/>
              <a:gd name="connsiteX6" fmla="*/ 55253 w 184949"/>
              <a:gd name="connsiteY6" fmla="*/ 10112 h 49603"/>
              <a:gd name="connsiteX7" fmla="*/ 19218 w 184949"/>
              <a:gd name="connsiteY7" fmla="*/ 14926 h 49603"/>
              <a:gd name="connsiteX8" fmla="*/ 0 w 184949"/>
              <a:gd name="connsiteY8" fmla="*/ 19739 h 49603"/>
              <a:gd name="connsiteX9" fmla="*/ 2402 w 184949"/>
              <a:gd name="connsiteY9" fmla="*/ 7705 h 49603"/>
              <a:gd name="connsiteX10" fmla="*/ 4443 w 184949"/>
              <a:gd name="connsiteY10" fmla="*/ 0 h 49603"/>
              <a:gd name="connsiteX11" fmla="*/ 184949 w 184949"/>
              <a:gd name="connsiteY11" fmla="*/ 40197 h 49603"/>
              <a:gd name="connsiteX0" fmla="*/ 152467 w 154862"/>
              <a:gd name="connsiteY0" fmla="*/ 279 h 49882"/>
              <a:gd name="connsiteX1" fmla="*/ 153749 w 154862"/>
              <a:gd name="connsiteY1" fmla="*/ 3171 h 49882"/>
              <a:gd name="connsiteX2" fmla="*/ 141738 w 154862"/>
              <a:gd name="connsiteY2" fmla="*/ 32053 h 49882"/>
              <a:gd name="connsiteX3" fmla="*/ 144140 w 154862"/>
              <a:gd name="connsiteY3" fmla="*/ 39273 h 49882"/>
              <a:gd name="connsiteX4" fmla="*/ 120116 w 154862"/>
              <a:gd name="connsiteY4" fmla="*/ 39273 h 49882"/>
              <a:gd name="connsiteX5" fmla="*/ 96093 w 154862"/>
              <a:gd name="connsiteY5" fmla="*/ 48900 h 49882"/>
              <a:gd name="connsiteX6" fmla="*/ 55253 w 154862"/>
              <a:gd name="connsiteY6" fmla="*/ 10391 h 49882"/>
              <a:gd name="connsiteX7" fmla="*/ 19218 w 154862"/>
              <a:gd name="connsiteY7" fmla="*/ 15205 h 49882"/>
              <a:gd name="connsiteX8" fmla="*/ 0 w 154862"/>
              <a:gd name="connsiteY8" fmla="*/ 20018 h 49882"/>
              <a:gd name="connsiteX9" fmla="*/ 2402 w 154862"/>
              <a:gd name="connsiteY9" fmla="*/ 7984 h 49882"/>
              <a:gd name="connsiteX10" fmla="*/ 4443 w 154862"/>
              <a:gd name="connsiteY10" fmla="*/ 279 h 49882"/>
              <a:gd name="connsiteX11" fmla="*/ 131940 w 154862"/>
              <a:gd name="connsiteY11" fmla="*/ 0 h 49882"/>
              <a:gd name="connsiteX0" fmla="*/ 152467 w 154862"/>
              <a:gd name="connsiteY0" fmla="*/ 0 h 49603"/>
              <a:gd name="connsiteX1" fmla="*/ 153749 w 154862"/>
              <a:gd name="connsiteY1" fmla="*/ 2892 h 49603"/>
              <a:gd name="connsiteX2" fmla="*/ 141738 w 154862"/>
              <a:gd name="connsiteY2" fmla="*/ 31774 h 49603"/>
              <a:gd name="connsiteX3" fmla="*/ 144140 w 154862"/>
              <a:gd name="connsiteY3" fmla="*/ 38994 h 49603"/>
              <a:gd name="connsiteX4" fmla="*/ 120116 w 154862"/>
              <a:gd name="connsiteY4" fmla="*/ 38994 h 49603"/>
              <a:gd name="connsiteX5" fmla="*/ 96093 w 154862"/>
              <a:gd name="connsiteY5" fmla="*/ 48621 h 49603"/>
              <a:gd name="connsiteX6" fmla="*/ 55253 w 154862"/>
              <a:gd name="connsiteY6" fmla="*/ 10112 h 49603"/>
              <a:gd name="connsiteX7" fmla="*/ 19218 w 154862"/>
              <a:gd name="connsiteY7" fmla="*/ 14926 h 49603"/>
              <a:gd name="connsiteX8" fmla="*/ 0 w 154862"/>
              <a:gd name="connsiteY8" fmla="*/ 19739 h 49603"/>
              <a:gd name="connsiteX9" fmla="*/ 2402 w 154862"/>
              <a:gd name="connsiteY9" fmla="*/ 7705 h 49603"/>
              <a:gd name="connsiteX10" fmla="*/ 4443 w 154862"/>
              <a:gd name="connsiteY10" fmla="*/ 0 h 49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4862" h="49603">
                <a:moveTo>
                  <a:pt x="152467" y="0"/>
                </a:moveTo>
                <a:cubicBezTo>
                  <a:pt x="152859" y="1125"/>
                  <a:pt x="153339" y="2070"/>
                  <a:pt x="153749" y="2892"/>
                </a:cubicBezTo>
                <a:cubicBezTo>
                  <a:pt x="158554" y="14926"/>
                  <a:pt x="146542" y="22146"/>
                  <a:pt x="141738" y="31774"/>
                </a:cubicBezTo>
                <a:cubicBezTo>
                  <a:pt x="141738" y="34180"/>
                  <a:pt x="141738" y="36587"/>
                  <a:pt x="144140" y="38994"/>
                </a:cubicBezTo>
                <a:lnTo>
                  <a:pt x="120116" y="38994"/>
                </a:lnTo>
                <a:cubicBezTo>
                  <a:pt x="110507" y="38994"/>
                  <a:pt x="100898" y="53435"/>
                  <a:pt x="96093" y="48621"/>
                </a:cubicBezTo>
                <a:cubicBezTo>
                  <a:pt x="91288" y="43808"/>
                  <a:pt x="74472" y="14926"/>
                  <a:pt x="55253" y="10112"/>
                </a:cubicBezTo>
                <a:cubicBezTo>
                  <a:pt x="36035" y="5298"/>
                  <a:pt x="24023" y="14926"/>
                  <a:pt x="19218" y="14926"/>
                </a:cubicBezTo>
                <a:lnTo>
                  <a:pt x="0" y="19739"/>
                </a:lnTo>
                <a:cubicBezTo>
                  <a:pt x="0" y="17333"/>
                  <a:pt x="2402" y="12519"/>
                  <a:pt x="2402" y="7705"/>
                </a:cubicBezTo>
                <a:lnTo>
                  <a:pt x="4443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39" name="Freeform 817"/>
          <p:cNvSpPr>
            <a:spLocks/>
          </p:cNvSpPr>
          <p:nvPr/>
        </p:nvSpPr>
        <p:spPr bwMode="auto">
          <a:xfrm>
            <a:off x="3501488" y="2074871"/>
            <a:ext cx="615980" cy="507199"/>
          </a:xfrm>
          <a:custGeom>
            <a:avLst/>
            <a:gdLst>
              <a:gd name="connsiteX0" fmla="*/ 246840 w 279322"/>
              <a:gd name="connsiteY0" fmla="*/ 0 h 242464"/>
              <a:gd name="connsiteX1" fmla="*/ 237838 w 279322"/>
              <a:gd name="connsiteY1" fmla="*/ 29196 h 242464"/>
              <a:gd name="connsiteX2" fmla="*/ 230641 w 279322"/>
              <a:gd name="connsiteY2" fmla="*/ 67537 h 242464"/>
              <a:gd name="connsiteX3" fmla="*/ 218646 w 279322"/>
              <a:gd name="connsiteY3" fmla="*/ 86707 h 242464"/>
              <a:gd name="connsiteX4" fmla="*/ 228242 w 279322"/>
              <a:gd name="connsiteY4" fmla="*/ 103481 h 242464"/>
              <a:gd name="connsiteX5" fmla="*/ 194656 w 279322"/>
              <a:gd name="connsiteY5" fmla="*/ 175368 h 242464"/>
              <a:gd name="connsiteX6" fmla="*/ 185060 w 279322"/>
              <a:gd name="connsiteY6" fmla="*/ 184954 h 242464"/>
              <a:gd name="connsiteX7" fmla="*/ 134681 w 279322"/>
              <a:gd name="connsiteY7" fmla="*/ 172972 h 242464"/>
              <a:gd name="connsiteX8" fmla="*/ 132282 w 279322"/>
              <a:gd name="connsiteY8" fmla="*/ 192142 h 242464"/>
              <a:gd name="connsiteX9" fmla="*/ 108293 w 279322"/>
              <a:gd name="connsiteY9" fmla="*/ 194539 h 242464"/>
              <a:gd name="connsiteX10" fmla="*/ 103495 w 279322"/>
              <a:gd name="connsiteY10" fmla="*/ 213709 h 242464"/>
              <a:gd name="connsiteX11" fmla="*/ 110692 w 279322"/>
              <a:gd name="connsiteY11" fmla="*/ 230483 h 242464"/>
              <a:gd name="connsiteX12" fmla="*/ 96298 w 279322"/>
              <a:gd name="connsiteY12" fmla="*/ 242464 h 242464"/>
              <a:gd name="connsiteX13" fmla="*/ 77106 w 279322"/>
              <a:gd name="connsiteY13" fmla="*/ 237671 h 242464"/>
              <a:gd name="connsiteX14" fmla="*/ 48318 w 279322"/>
              <a:gd name="connsiteY14" fmla="*/ 240068 h 242464"/>
              <a:gd name="connsiteX15" fmla="*/ 36323 w 279322"/>
              <a:gd name="connsiteY15" fmla="*/ 223294 h 242464"/>
              <a:gd name="connsiteX16" fmla="*/ 45919 w 279322"/>
              <a:gd name="connsiteY16" fmla="*/ 208916 h 242464"/>
              <a:gd name="connsiteX17" fmla="*/ 29126 w 279322"/>
              <a:gd name="connsiteY17" fmla="*/ 156198 h 242464"/>
              <a:gd name="connsiteX18" fmla="*/ 43520 w 279322"/>
              <a:gd name="connsiteY18" fmla="*/ 141821 h 242464"/>
              <a:gd name="connsiteX19" fmla="*/ 43520 w 279322"/>
              <a:gd name="connsiteY19" fmla="*/ 125047 h 242464"/>
              <a:gd name="connsiteX20" fmla="*/ 33924 w 279322"/>
              <a:gd name="connsiteY20" fmla="*/ 115462 h 242464"/>
              <a:gd name="connsiteX21" fmla="*/ 24328 w 279322"/>
              <a:gd name="connsiteY21" fmla="*/ 79518 h 242464"/>
              <a:gd name="connsiteX22" fmla="*/ 21929 w 279322"/>
              <a:gd name="connsiteY22" fmla="*/ 50763 h 242464"/>
              <a:gd name="connsiteX23" fmla="*/ 5136 w 279322"/>
              <a:gd name="connsiteY23" fmla="*/ 48366 h 242464"/>
              <a:gd name="connsiteX24" fmla="*/ 2737 w 279322"/>
              <a:gd name="connsiteY24" fmla="*/ 10026 h 242464"/>
              <a:gd name="connsiteX25" fmla="*/ 0 w 279322"/>
              <a:gd name="connsiteY25" fmla="*/ 0 h 242464"/>
              <a:gd name="connsiteX26" fmla="*/ 279322 w 279322"/>
              <a:gd name="connsiteY26" fmla="*/ 40197 h 242464"/>
              <a:gd name="connsiteX0" fmla="*/ 246840 w 246840"/>
              <a:gd name="connsiteY0" fmla="*/ 0 h 242464"/>
              <a:gd name="connsiteX1" fmla="*/ 237838 w 246840"/>
              <a:gd name="connsiteY1" fmla="*/ 29196 h 242464"/>
              <a:gd name="connsiteX2" fmla="*/ 230641 w 246840"/>
              <a:gd name="connsiteY2" fmla="*/ 67537 h 242464"/>
              <a:gd name="connsiteX3" fmla="*/ 218646 w 246840"/>
              <a:gd name="connsiteY3" fmla="*/ 86707 h 242464"/>
              <a:gd name="connsiteX4" fmla="*/ 228242 w 246840"/>
              <a:gd name="connsiteY4" fmla="*/ 103481 h 242464"/>
              <a:gd name="connsiteX5" fmla="*/ 194656 w 246840"/>
              <a:gd name="connsiteY5" fmla="*/ 175368 h 242464"/>
              <a:gd name="connsiteX6" fmla="*/ 185060 w 246840"/>
              <a:gd name="connsiteY6" fmla="*/ 184954 h 242464"/>
              <a:gd name="connsiteX7" fmla="*/ 134681 w 246840"/>
              <a:gd name="connsiteY7" fmla="*/ 172972 h 242464"/>
              <a:gd name="connsiteX8" fmla="*/ 132282 w 246840"/>
              <a:gd name="connsiteY8" fmla="*/ 192142 h 242464"/>
              <a:gd name="connsiteX9" fmla="*/ 108293 w 246840"/>
              <a:gd name="connsiteY9" fmla="*/ 194539 h 242464"/>
              <a:gd name="connsiteX10" fmla="*/ 103495 w 246840"/>
              <a:gd name="connsiteY10" fmla="*/ 213709 h 242464"/>
              <a:gd name="connsiteX11" fmla="*/ 110692 w 246840"/>
              <a:gd name="connsiteY11" fmla="*/ 230483 h 242464"/>
              <a:gd name="connsiteX12" fmla="*/ 96298 w 246840"/>
              <a:gd name="connsiteY12" fmla="*/ 242464 h 242464"/>
              <a:gd name="connsiteX13" fmla="*/ 77106 w 246840"/>
              <a:gd name="connsiteY13" fmla="*/ 237671 h 242464"/>
              <a:gd name="connsiteX14" fmla="*/ 48318 w 246840"/>
              <a:gd name="connsiteY14" fmla="*/ 240068 h 242464"/>
              <a:gd name="connsiteX15" fmla="*/ 36323 w 246840"/>
              <a:gd name="connsiteY15" fmla="*/ 223294 h 242464"/>
              <a:gd name="connsiteX16" fmla="*/ 45919 w 246840"/>
              <a:gd name="connsiteY16" fmla="*/ 208916 h 242464"/>
              <a:gd name="connsiteX17" fmla="*/ 29126 w 246840"/>
              <a:gd name="connsiteY17" fmla="*/ 156198 h 242464"/>
              <a:gd name="connsiteX18" fmla="*/ 43520 w 246840"/>
              <a:gd name="connsiteY18" fmla="*/ 141821 h 242464"/>
              <a:gd name="connsiteX19" fmla="*/ 43520 w 246840"/>
              <a:gd name="connsiteY19" fmla="*/ 125047 h 242464"/>
              <a:gd name="connsiteX20" fmla="*/ 33924 w 246840"/>
              <a:gd name="connsiteY20" fmla="*/ 115462 h 242464"/>
              <a:gd name="connsiteX21" fmla="*/ 24328 w 246840"/>
              <a:gd name="connsiteY21" fmla="*/ 79518 h 242464"/>
              <a:gd name="connsiteX22" fmla="*/ 21929 w 246840"/>
              <a:gd name="connsiteY22" fmla="*/ 50763 h 242464"/>
              <a:gd name="connsiteX23" fmla="*/ 5136 w 246840"/>
              <a:gd name="connsiteY23" fmla="*/ 48366 h 242464"/>
              <a:gd name="connsiteX24" fmla="*/ 2737 w 246840"/>
              <a:gd name="connsiteY24" fmla="*/ 10026 h 242464"/>
              <a:gd name="connsiteX25" fmla="*/ 0 w 246840"/>
              <a:gd name="connsiteY25" fmla="*/ 0 h 242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46840" h="242464">
                <a:moveTo>
                  <a:pt x="246840" y="0"/>
                </a:moveTo>
                <a:cubicBezTo>
                  <a:pt x="244312" y="7654"/>
                  <a:pt x="241075" y="17880"/>
                  <a:pt x="237838" y="29196"/>
                </a:cubicBezTo>
                <a:cubicBezTo>
                  <a:pt x="237838" y="43574"/>
                  <a:pt x="235439" y="62744"/>
                  <a:pt x="230641" y="67537"/>
                </a:cubicBezTo>
                <a:cubicBezTo>
                  <a:pt x="228242" y="74725"/>
                  <a:pt x="216247" y="84310"/>
                  <a:pt x="218646" y="86707"/>
                </a:cubicBezTo>
                <a:cubicBezTo>
                  <a:pt x="221045" y="91499"/>
                  <a:pt x="233040" y="96292"/>
                  <a:pt x="228242" y="103481"/>
                </a:cubicBezTo>
                <a:cubicBezTo>
                  <a:pt x="223444" y="110669"/>
                  <a:pt x="199454" y="168180"/>
                  <a:pt x="194656" y="175368"/>
                </a:cubicBezTo>
                <a:cubicBezTo>
                  <a:pt x="189858" y="180161"/>
                  <a:pt x="189858" y="184954"/>
                  <a:pt x="185060" y="184954"/>
                </a:cubicBezTo>
                <a:cubicBezTo>
                  <a:pt x="182661" y="184954"/>
                  <a:pt x="137080" y="170576"/>
                  <a:pt x="134681" y="172972"/>
                </a:cubicBezTo>
                <a:cubicBezTo>
                  <a:pt x="129883" y="175368"/>
                  <a:pt x="137080" y="192142"/>
                  <a:pt x="132282" y="192142"/>
                </a:cubicBezTo>
                <a:cubicBezTo>
                  <a:pt x="127484" y="192142"/>
                  <a:pt x="113091" y="189746"/>
                  <a:pt x="108293" y="194539"/>
                </a:cubicBezTo>
                <a:cubicBezTo>
                  <a:pt x="105894" y="201727"/>
                  <a:pt x="103495" y="208916"/>
                  <a:pt x="103495" y="213709"/>
                </a:cubicBezTo>
                <a:cubicBezTo>
                  <a:pt x="103495" y="218501"/>
                  <a:pt x="115490" y="225690"/>
                  <a:pt x="110692" y="230483"/>
                </a:cubicBezTo>
                <a:cubicBezTo>
                  <a:pt x="105894" y="235275"/>
                  <a:pt x="101096" y="242464"/>
                  <a:pt x="96298" y="242464"/>
                </a:cubicBezTo>
                <a:cubicBezTo>
                  <a:pt x="91500" y="240068"/>
                  <a:pt x="84303" y="235275"/>
                  <a:pt x="77106" y="237671"/>
                </a:cubicBezTo>
                <a:cubicBezTo>
                  <a:pt x="67510" y="240068"/>
                  <a:pt x="57914" y="244860"/>
                  <a:pt x="48318" y="240068"/>
                </a:cubicBezTo>
                <a:cubicBezTo>
                  <a:pt x="36323" y="235275"/>
                  <a:pt x="36323" y="225690"/>
                  <a:pt x="36323" y="223294"/>
                </a:cubicBezTo>
                <a:cubicBezTo>
                  <a:pt x="36323" y="218501"/>
                  <a:pt x="45919" y="213709"/>
                  <a:pt x="45919" y="208916"/>
                </a:cubicBezTo>
                <a:cubicBezTo>
                  <a:pt x="43520" y="201727"/>
                  <a:pt x="26727" y="163387"/>
                  <a:pt x="29126" y="156198"/>
                </a:cubicBezTo>
                <a:cubicBezTo>
                  <a:pt x="31525" y="151406"/>
                  <a:pt x="38722" y="146613"/>
                  <a:pt x="43520" y="141821"/>
                </a:cubicBezTo>
                <a:cubicBezTo>
                  <a:pt x="45919" y="137028"/>
                  <a:pt x="53116" y="129839"/>
                  <a:pt x="43520" y="125047"/>
                </a:cubicBezTo>
                <a:cubicBezTo>
                  <a:pt x="36323" y="120254"/>
                  <a:pt x="36323" y="120254"/>
                  <a:pt x="33924" y="115462"/>
                </a:cubicBezTo>
                <a:cubicBezTo>
                  <a:pt x="31525" y="110669"/>
                  <a:pt x="24328" y="89103"/>
                  <a:pt x="24328" y="79518"/>
                </a:cubicBezTo>
                <a:cubicBezTo>
                  <a:pt x="21929" y="69933"/>
                  <a:pt x="24328" y="55555"/>
                  <a:pt x="21929" y="50763"/>
                </a:cubicBezTo>
                <a:cubicBezTo>
                  <a:pt x="19530" y="48366"/>
                  <a:pt x="5136" y="60348"/>
                  <a:pt x="5136" y="48366"/>
                </a:cubicBezTo>
                <a:cubicBezTo>
                  <a:pt x="5136" y="36385"/>
                  <a:pt x="9934" y="29196"/>
                  <a:pt x="2737" y="10026"/>
                </a:cubicBez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0" name="Freeform 818"/>
          <p:cNvSpPr>
            <a:spLocks/>
          </p:cNvSpPr>
          <p:nvPr/>
        </p:nvSpPr>
        <p:spPr bwMode="auto">
          <a:xfrm>
            <a:off x="4242411" y="2117773"/>
            <a:ext cx="169950" cy="204247"/>
          </a:xfrm>
          <a:custGeom>
            <a:avLst/>
            <a:gdLst>
              <a:gd name="T0" fmla="*/ 24 w 28"/>
              <a:gd name="T1" fmla="*/ 0 h 41"/>
              <a:gd name="T2" fmla="*/ 27 w 28"/>
              <a:gd name="T3" fmla="*/ 5 h 41"/>
              <a:gd name="T4" fmla="*/ 19 w 28"/>
              <a:gd name="T5" fmla="*/ 10 h 41"/>
              <a:gd name="T6" fmla="*/ 17 w 28"/>
              <a:gd name="T7" fmla="*/ 21 h 41"/>
              <a:gd name="T8" fmla="*/ 9 w 28"/>
              <a:gd name="T9" fmla="*/ 34 h 41"/>
              <a:gd name="T10" fmla="*/ 7 w 28"/>
              <a:gd name="T11" fmla="*/ 41 h 41"/>
              <a:gd name="T12" fmla="*/ 3 w 28"/>
              <a:gd name="T13" fmla="*/ 39 h 41"/>
              <a:gd name="T14" fmla="*/ 3 w 28"/>
              <a:gd name="T15" fmla="*/ 26 h 41"/>
              <a:gd name="T16" fmla="*/ 3 w 28"/>
              <a:gd name="T17" fmla="*/ 15 h 41"/>
              <a:gd name="T18" fmla="*/ 12 w 28"/>
              <a:gd name="T19" fmla="*/ 3 h 41"/>
              <a:gd name="T20" fmla="*/ 24 w 28"/>
              <a:gd name="T21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" h="41">
                <a:moveTo>
                  <a:pt x="24" y="0"/>
                </a:moveTo>
                <a:cubicBezTo>
                  <a:pt x="28" y="0"/>
                  <a:pt x="28" y="4"/>
                  <a:pt x="27" y="5"/>
                </a:cubicBezTo>
                <a:cubicBezTo>
                  <a:pt x="27" y="6"/>
                  <a:pt x="20" y="7"/>
                  <a:pt x="19" y="10"/>
                </a:cubicBezTo>
                <a:cubicBezTo>
                  <a:pt x="17" y="13"/>
                  <a:pt x="17" y="18"/>
                  <a:pt x="17" y="21"/>
                </a:cubicBezTo>
                <a:cubicBezTo>
                  <a:pt x="18" y="24"/>
                  <a:pt x="9" y="32"/>
                  <a:pt x="9" y="34"/>
                </a:cubicBezTo>
                <a:cubicBezTo>
                  <a:pt x="9" y="37"/>
                  <a:pt x="9" y="41"/>
                  <a:pt x="7" y="41"/>
                </a:cubicBezTo>
                <a:cubicBezTo>
                  <a:pt x="7" y="41"/>
                  <a:pt x="3" y="39"/>
                  <a:pt x="3" y="39"/>
                </a:cubicBezTo>
                <a:cubicBezTo>
                  <a:pt x="2" y="37"/>
                  <a:pt x="3" y="30"/>
                  <a:pt x="3" y="26"/>
                </a:cubicBezTo>
                <a:cubicBezTo>
                  <a:pt x="2" y="21"/>
                  <a:pt x="0" y="19"/>
                  <a:pt x="3" y="15"/>
                </a:cubicBezTo>
                <a:cubicBezTo>
                  <a:pt x="5" y="11"/>
                  <a:pt x="10" y="5"/>
                  <a:pt x="12" y="3"/>
                </a:cubicBezTo>
                <a:cubicBezTo>
                  <a:pt x="14" y="1"/>
                  <a:pt x="19" y="0"/>
                  <a:pt x="2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1" name="Freeform 821"/>
          <p:cNvSpPr>
            <a:spLocks/>
          </p:cNvSpPr>
          <p:nvPr/>
        </p:nvSpPr>
        <p:spPr bwMode="auto">
          <a:xfrm>
            <a:off x="2514051" y="2588081"/>
            <a:ext cx="1279437" cy="1443169"/>
          </a:xfrm>
          <a:custGeom>
            <a:avLst/>
            <a:gdLst>
              <a:gd name="T0" fmla="*/ 207 w 214"/>
              <a:gd name="T1" fmla="*/ 169 h 288"/>
              <a:gd name="T2" fmla="*/ 176 w 214"/>
              <a:gd name="T3" fmla="*/ 171 h 288"/>
              <a:gd name="T4" fmla="*/ 143 w 214"/>
              <a:gd name="T5" fmla="*/ 185 h 288"/>
              <a:gd name="T6" fmla="*/ 149 w 214"/>
              <a:gd name="T7" fmla="*/ 209 h 288"/>
              <a:gd name="T8" fmla="*/ 171 w 214"/>
              <a:gd name="T9" fmla="*/ 233 h 288"/>
              <a:gd name="T10" fmla="*/ 152 w 214"/>
              <a:gd name="T11" fmla="*/ 261 h 288"/>
              <a:gd name="T12" fmla="*/ 160 w 214"/>
              <a:gd name="T13" fmla="*/ 286 h 288"/>
              <a:gd name="T14" fmla="*/ 136 w 214"/>
              <a:gd name="T15" fmla="*/ 278 h 288"/>
              <a:gd name="T16" fmla="*/ 98 w 214"/>
              <a:gd name="T17" fmla="*/ 279 h 288"/>
              <a:gd name="T18" fmla="*/ 77 w 214"/>
              <a:gd name="T19" fmla="*/ 273 h 288"/>
              <a:gd name="T20" fmla="*/ 68 w 214"/>
              <a:gd name="T21" fmla="*/ 276 h 288"/>
              <a:gd name="T22" fmla="*/ 26 w 214"/>
              <a:gd name="T23" fmla="*/ 265 h 288"/>
              <a:gd name="T24" fmla="*/ 39 w 214"/>
              <a:gd name="T25" fmla="*/ 220 h 288"/>
              <a:gd name="T26" fmla="*/ 0 w 214"/>
              <a:gd name="T27" fmla="*/ 198 h 288"/>
              <a:gd name="T28" fmla="*/ 13 w 214"/>
              <a:gd name="T29" fmla="*/ 180 h 288"/>
              <a:gd name="T30" fmla="*/ 2 w 214"/>
              <a:gd name="T31" fmla="*/ 162 h 288"/>
              <a:gd name="T32" fmla="*/ 6 w 214"/>
              <a:gd name="T33" fmla="*/ 141 h 288"/>
              <a:gd name="T34" fmla="*/ 7 w 214"/>
              <a:gd name="T35" fmla="*/ 110 h 288"/>
              <a:gd name="T36" fmla="*/ 25 w 214"/>
              <a:gd name="T37" fmla="*/ 103 h 288"/>
              <a:gd name="T38" fmla="*/ 29 w 214"/>
              <a:gd name="T39" fmla="*/ 84 h 288"/>
              <a:gd name="T40" fmla="*/ 41 w 214"/>
              <a:gd name="T41" fmla="*/ 74 h 288"/>
              <a:gd name="T42" fmla="*/ 46 w 214"/>
              <a:gd name="T43" fmla="*/ 57 h 288"/>
              <a:gd name="T44" fmla="*/ 49 w 214"/>
              <a:gd name="T45" fmla="*/ 53 h 288"/>
              <a:gd name="T46" fmla="*/ 49 w 214"/>
              <a:gd name="T47" fmla="*/ 43 h 288"/>
              <a:gd name="T48" fmla="*/ 68 w 214"/>
              <a:gd name="T49" fmla="*/ 48 h 288"/>
              <a:gd name="T50" fmla="*/ 71 w 214"/>
              <a:gd name="T51" fmla="*/ 56 h 288"/>
              <a:gd name="T52" fmla="*/ 82 w 214"/>
              <a:gd name="T53" fmla="*/ 39 h 288"/>
              <a:gd name="T54" fmla="*/ 95 w 214"/>
              <a:gd name="T55" fmla="*/ 42 h 288"/>
              <a:gd name="T56" fmla="*/ 91 w 214"/>
              <a:gd name="T57" fmla="*/ 29 h 288"/>
              <a:gd name="T58" fmla="*/ 83 w 214"/>
              <a:gd name="T59" fmla="*/ 22 h 288"/>
              <a:gd name="T60" fmla="*/ 88 w 214"/>
              <a:gd name="T61" fmla="*/ 6 h 288"/>
              <a:gd name="T62" fmla="*/ 96 w 214"/>
              <a:gd name="T63" fmla="*/ 3 h 288"/>
              <a:gd name="T64" fmla="*/ 116 w 214"/>
              <a:gd name="T65" fmla="*/ 3 h 288"/>
              <a:gd name="T66" fmla="*/ 116 w 214"/>
              <a:gd name="T67" fmla="*/ 14 h 288"/>
              <a:gd name="T68" fmla="*/ 127 w 214"/>
              <a:gd name="T69" fmla="*/ 28 h 288"/>
              <a:gd name="T70" fmla="*/ 137 w 214"/>
              <a:gd name="T71" fmla="*/ 22 h 288"/>
              <a:gd name="T72" fmla="*/ 138 w 214"/>
              <a:gd name="T73" fmla="*/ 31 h 288"/>
              <a:gd name="T74" fmla="*/ 129 w 214"/>
              <a:gd name="T75" fmla="*/ 39 h 288"/>
              <a:gd name="T76" fmla="*/ 143 w 214"/>
              <a:gd name="T77" fmla="*/ 45 h 288"/>
              <a:gd name="T78" fmla="*/ 159 w 214"/>
              <a:gd name="T79" fmla="*/ 37 h 288"/>
              <a:gd name="T80" fmla="*/ 182 w 214"/>
              <a:gd name="T81" fmla="*/ 32 h 288"/>
              <a:gd name="T82" fmla="*/ 188 w 214"/>
              <a:gd name="T83" fmla="*/ 22 h 288"/>
              <a:gd name="T84" fmla="*/ 193 w 214"/>
              <a:gd name="T85" fmla="*/ 33 h 288"/>
              <a:gd name="T86" fmla="*/ 185 w 214"/>
              <a:gd name="T87" fmla="*/ 37 h 288"/>
              <a:gd name="T88" fmla="*/ 195 w 214"/>
              <a:gd name="T89" fmla="*/ 45 h 288"/>
              <a:gd name="T90" fmla="*/ 208 w 214"/>
              <a:gd name="T91" fmla="*/ 50 h 288"/>
              <a:gd name="T92" fmla="*/ 198 w 214"/>
              <a:gd name="T93" fmla="*/ 89 h 288"/>
              <a:gd name="T94" fmla="*/ 208 w 214"/>
              <a:gd name="T95" fmla="*/ 123 h 288"/>
              <a:gd name="T96" fmla="*/ 214 w 214"/>
              <a:gd name="T97" fmla="*/ 161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4" h="288">
                <a:moveTo>
                  <a:pt x="214" y="161"/>
                </a:moveTo>
                <a:cubicBezTo>
                  <a:pt x="207" y="169"/>
                  <a:pt x="207" y="169"/>
                  <a:pt x="207" y="169"/>
                </a:cubicBezTo>
                <a:cubicBezTo>
                  <a:pt x="203" y="171"/>
                  <a:pt x="199" y="159"/>
                  <a:pt x="195" y="159"/>
                </a:cubicBezTo>
                <a:cubicBezTo>
                  <a:pt x="192" y="160"/>
                  <a:pt x="179" y="170"/>
                  <a:pt x="176" y="171"/>
                </a:cubicBezTo>
                <a:cubicBezTo>
                  <a:pt x="173" y="171"/>
                  <a:pt x="157" y="178"/>
                  <a:pt x="152" y="179"/>
                </a:cubicBezTo>
                <a:cubicBezTo>
                  <a:pt x="147" y="179"/>
                  <a:pt x="143" y="182"/>
                  <a:pt x="143" y="185"/>
                </a:cubicBezTo>
                <a:cubicBezTo>
                  <a:pt x="143" y="189"/>
                  <a:pt x="149" y="192"/>
                  <a:pt x="151" y="196"/>
                </a:cubicBezTo>
                <a:cubicBezTo>
                  <a:pt x="153" y="200"/>
                  <a:pt x="145" y="204"/>
                  <a:pt x="149" y="209"/>
                </a:cubicBezTo>
                <a:cubicBezTo>
                  <a:pt x="152" y="215"/>
                  <a:pt x="159" y="221"/>
                  <a:pt x="161" y="223"/>
                </a:cubicBezTo>
                <a:cubicBezTo>
                  <a:pt x="164" y="225"/>
                  <a:pt x="171" y="233"/>
                  <a:pt x="171" y="233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76" y="245"/>
                  <a:pt x="154" y="261"/>
                  <a:pt x="152" y="261"/>
                </a:cubicBezTo>
                <a:cubicBezTo>
                  <a:pt x="150" y="262"/>
                  <a:pt x="156" y="268"/>
                  <a:pt x="158" y="271"/>
                </a:cubicBezTo>
                <a:cubicBezTo>
                  <a:pt x="160" y="274"/>
                  <a:pt x="160" y="283"/>
                  <a:pt x="160" y="286"/>
                </a:cubicBezTo>
                <a:cubicBezTo>
                  <a:pt x="158" y="288"/>
                  <a:pt x="154" y="287"/>
                  <a:pt x="150" y="286"/>
                </a:cubicBezTo>
                <a:cubicBezTo>
                  <a:pt x="146" y="285"/>
                  <a:pt x="141" y="278"/>
                  <a:pt x="136" y="278"/>
                </a:cubicBezTo>
                <a:cubicBezTo>
                  <a:pt x="132" y="278"/>
                  <a:pt x="117" y="281"/>
                  <a:pt x="114" y="283"/>
                </a:cubicBezTo>
                <a:cubicBezTo>
                  <a:pt x="110" y="284"/>
                  <a:pt x="102" y="279"/>
                  <a:pt x="98" y="279"/>
                </a:cubicBezTo>
                <a:cubicBezTo>
                  <a:pt x="94" y="278"/>
                  <a:pt x="92" y="284"/>
                  <a:pt x="87" y="284"/>
                </a:cubicBezTo>
                <a:cubicBezTo>
                  <a:pt x="82" y="284"/>
                  <a:pt x="80" y="274"/>
                  <a:pt x="77" y="273"/>
                </a:cubicBezTo>
                <a:cubicBezTo>
                  <a:pt x="69" y="279"/>
                  <a:pt x="69" y="279"/>
                  <a:pt x="69" y="279"/>
                </a:cubicBezTo>
                <a:cubicBezTo>
                  <a:pt x="69" y="278"/>
                  <a:pt x="69" y="277"/>
                  <a:pt x="68" y="276"/>
                </a:cubicBezTo>
                <a:cubicBezTo>
                  <a:pt x="64" y="272"/>
                  <a:pt x="55" y="266"/>
                  <a:pt x="50" y="266"/>
                </a:cubicBezTo>
                <a:cubicBezTo>
                  <a:pt x="46" y="266"/>
                  <a:pt x="26" y="265"/>
                  <a:pt x="26" y="265"/>
                </a:cubicBezTo>
                <a:cubicBezTo>
                  <a:pt x="17" y="263"/>
                  <a:pt x="17" y="263"/>
                  <a:pt x="17" y="263"/>
                </a:cubicBezTo>
                <a:cubicBezTo>
                  <a:pt x="19" y="257"/>
                  <a:pt x="37" y="222"/>
                  <a:pt x="39" y="220"/>
                </a:cubicBezTo>
                <a:cubicBezTo>
                  <a:pt x="41" y="218"/>
                  <a:pt x="18" y="213"/>
                  <a:pt x="11" y="207"/>
                </a:cubicBezTo>
                <a:cubicBezTo>
                  <a:pt x="6" y="204"/>
                  <a:pt x="3" y="201"/>
                  <a:pt x="0" y="198"/>
                </a:cubicBezTo>
                <a:cubicBezTo>
                  <a:pt x="0" y="198"/>
                  <a:pt x="3" y="191"/>
                  <a:pt x="5" y="190"/>
                </a:cubicBezTo>
                <a:cubicBezTo>
                  <a:pt x="7" y="188"/>
                  <a:pt x="13" y="182"/>
                  <a:pt x="13" y="180"/>
                </a:cubicBezTo>
                <a:cubicBezTo>
                  <a:pt x="13" y="179"/>
                  <a:pt x="7" y="176"/>
                  <a:pt x="6" y="171"/>
                </a:cubicBezTo>
                <a:cubicBezTo>
                  <a:pt x="2" y="162"/>
                  <a:pt x="2" y="162"/>
                  <a:pt x="2" y="162"/>
                </a:cubicBezTo>
                <a:cubicBezTo>
                  <a:pt x="4" y="160"/>
                  <a:pt x="7" y="159"/>
                  <a:pt x="9" y="158"/>
                </a:cubicBezTo>
                <a:cubicBezTo>
                  <a:pt x="12" y="156"/>
                  <a:pt x="8" y="147"/>
                  <a:pt x="6" y="141"/>
                </a:cubicBezTo>
                <a:cubicBezTo>
                  <a:pt x="5" y="135"/>
                  <a:pt x="10" y="128"/>
                  <a:pt x="11" y="124"/>
                </a:cubicBezTo>
                <a:cubicBezTo>
                  <a:pt x="13" y="121"/>
                  <a:pt x="8" y="113"/>
                  <a:pt x="7" y="110"/>
                </a:cubicBezTo>
                <a:cubicBezTo>
                  <a:pt x="6" y="108"/>
                  <a:pt x="9" y="104"/>
                  <a:pt x="11" y="103"/>
                </a:cubicBezTo>
                <a:cubicBezTo>
                  <a:pt x="14" y="102"/>
                  <a:pt x="22" y="103"/>
                  <a:pt x="25" y="103"/>
                </a:cubicBezTo>
                <a:cubicBezTo>
                  <a:pt x="28" y="104"/>
                  <a:pt x="33" y="95"/>
                  <a:pt x="37" y="91"/>
                </a:cubicBezTo>
                <a:cubicBezTo>
                  <a:pt x="40" y="87"/>
                  <a:pt x="29" y="84"/>
                  <a:pt x="29" y="84"/>
                </a:cubicBezTo>
                <a:cubicBezTo>
                  <a:pt x="32" y="75"/>
                  <a:pt x="32" y="75"/>
                  <a:pt x="32" y="75"/>
                </a:cubicBezTo>
                <a:cubicBezTo>
                  <a:pt x="32" y="75"/>
                  <a:pt x="40" y="76"/>
                  <a:pt x="41" y="74"/>
                </a:cubicBezTo>
                <a:cubicBezTo>
                  <a:pt x="42" y="73"/>
                  <a:pt x="46" y="62"/>
                  <a:pt x="46" y="58"/>
                </a:cubicBezTo>
                <a:cubicBezTo>
                  <a:pt x="46" y="57"/>
                  <a:pt x="46" y="57"/>
                  <a:pt x="46" y="57"/>
                </a:cubicBezTo>
                <a:cubicBezTo>
                  <a:pt x="46" y="57"/>
                  <a:pt x="47" y="57"/>
                  <a:pt x="47" y="57"/>
                </a:cubicBezTo>
                <a:cubicBezTo>
                  <a:pt x="50" y="57"/>
                  <a:pt x="52" y="55"/>
                  <a:pt x="49" y="53"/>
                </a:cubicBezTo>
                <a:cubicBezTo>
                  <a:pt x="46" y="51"/>
                  <a:pt x="44" y="51"/>
                  <a:pt x="45" y="49"/>
                </a:cubicBezTo>
                <a:cubicBezTo>
                  <a:pt x="46" y="46"/>
                  <a:pt x="48" y="43"/>
                  <a:pt x="49" y="43"/>
                </a:cubicBezTo>
                <a:cubicBezTo>
                  <a:pt x="50" y="42"/>
                  <a:pt x="65" y="42"/>
                  <a:pt x="66" y="43"/>
                </a:cubicBezTo>
                <a:cubicBezTo>
                  <a:pt x="67" y="43"/>
                  <a:pt x="69" y="47"/>
                  <a:pt x="68" y="48"/>
                </a:cubicBezTo>
                <a:cubicBezTo>
                  <a:pt x="68" y="50"/>
                  <a:pt x="65" y="51"/>
                  <a:pt x="66" y="52"/>
                </a:cubicBezTo>
                <a:cubicBezTo>
                  <a:pt x="66" y="54"/>
                  <a:pt x="69" y="57"/>
                  <a:pt x="71" y="56"/>
                </a:cubicBezTo>
                <a:cubicBezTo>
                  <a:pt x="81" y="53"/>
                  <a:pt x="74" y="45"/>
                  <a:pt x="75" y="44"/>
                </a:cubicBezTo>
                <a:cubicBezTo>
                  <a:pt x="76" y="43"/>
                  <a:pt x="82" y="38"/>
                  <a:pt x="82" y="39"/>
                </a:cubicBezTo>
                <a:cubicBezTo>
                  <a:pt x="84" y="39"/>
                  <a:pt x="86" y="43"/>
                  <a:pt x="88" y="43"/>
                </a:cubicBezTo>
                <a:cubicBezTo>
                  <a:pt x="90" y="43"/>
                  <a:pt x="94" y="43"/>
                  <a:pt x="95" y="42"/>
                </a:cubicBezTo>
                <a:cubicBezTo>
                  <a:pt x="95" y="40"/>
                  <a:pt x="87" y="35"/>
                  <a:pt x="87" y="33"/>
                </a:cubicBezTo>
                <a:cubicBezTo>
                  <a:pt x="87" y="31"/>
                  <a:pt x="92" y="31"/>
                  <a:pt x="91" y="29"/>
                </a:cubicBezTo>
                <a:cubicBezTo>
                  <a:pt x="90" y="27"/>
                  <a:pt x="87" y="25"/>
                  <a:pt x="85" y="25"/>
                </a:cubicBezTo>
                <a:cubicBezTo>
                  <a:pt x="83" y="24"/>
                  <a:pt x="82" y="24"/>
                  <a:pt x="83" y="22"/>
                </a:cubicBezTo>
                <a:cubicBezTo>
                  <a:pt x="84" y="20"/>
                  <a:pt x="91" y="19"/>
                  <a:pt x="92" y="18"/>
                </a:cubicBezTo>
                <a:cubicBezTo>
                  <a:pt x="93" y="17"/>
                  <a:pt x="89" y="9"/>
                  <a:pt x="88" y="6"/>
                </a:cubicBezTo>
                <a:cubicBezTo>
                  <a:pt x="87" y="4"/>
                  <a:pt x="86" y="2"/>
                  <a:pt x="87" y="0"/>
                </a:cubicBezTo>
                <a:cubicBezTo>
                  <a:pt x="90" y="1"/>
                  <a:pt x="94" y="2"/>
                  <a:pt x="96" y="3"/>
                </a:cubicBezTo>
                <a:cubicBezTo>
                  <a:pt x="101" y="5"/>
                  <a:pt x="105" y="5"/>
                  <a:pt x="108" y="5"/>
                </a:cubicBezTo>
                <a:cubicBezTo>
                  <a:pt x="116" y="3"/>
                  <a:pt x="116" y="3"/>
                  <a:pt x="116" y="3"/>
                </a:cubicBezTo>
                <a:cubicBezTo>
                  <a:pt x="116" y="3"/>
                  <a:pt x="116" y="4"/>
                  <a:pt x="116" y="4"/>
                </a:cubicBezTo>
                <a:cubicBezTo>
                  <a:pt x="117" y="7"/>
                  <a:pt x="117" y="11"/>
                  <a:pt x="116" y="14"/>
                </a:cubicBezTo>
                <a:cubicBezTo>
                  <a:pt x="115" y="16"/>
                  <a:pt x="110" y="19"/>
                  <a:pt x="114" y="21"/>
                </a:cubicBezTo>
                <a:cubicBezTo>
                  <a:pt x="117" y="22"/>
                  <a:pt x="127" y="26"/>
                  <a:pt x="127" y="28"/>
                </a:cubicBezTo>
                <a:cubicBezTo>
                  <a:pt x="128" y="29"/>
                  <a:pt x="132" y="28"/>
                  <a:pt x="133" y="27"/>
                </a:cubicBezTo>
                <a:cubicBezTo>
                  <a:pt x="134" y="26"/>
                  <a:pt x="136" y="22"/>
                  <a:pt x="137" y="22"/>
                </a:cubicBezTo>
                <a:cubicBezTo>
                  <a:pt x="138" y="22"/>
                  <a:pt x="144" y="25"/>
                  <a:pt x="142" y="27"/>
                </a:cubicBezTo>
                <a:cubicBezTo>
                  <a:pt x="141" y="29"/>
                  <a:pt x="138" y="29"/>
                  <a:pt x="138" y="31"/>
                </a:cubicBezTo>
                <a:cubicBezTo>
                  <a:pt x="138" y="33"/>
                  <a:pt x="137" y="36"/>
                  <a:pt x="135" y="36"/>
                </a:cubicBezTo>
                <a:cubicBezTo>
                  <a:pt x="133" y="37"/>
                  <a:pt x="129" y="37"/>
                  <a:pt x="129" y="39"/>
                </a:cubicBezTo>
                <a:cubicBezTo>
                  <a:pt x="129" y="44"/>
                  <a:pt x="136" y="41"/>
                  <a:pt x="137" y="43"/>
                </a:cubicBezTo>
                <a:cubicBezTo>
                  <a:pt x="139" y="44"/>
                  <a:pt x="140" y="46"/>
                  <a:pt x="143" y="45"/>
                </a:cubicBezTo>
                <a:cubicBezTo>
                  <a:pt x="145" y="44"/>
                  <a:pt x="147" y="38"/>
                  <a:pt x="149" y="38"/>
                </a:cubicBezTo>
                <a:cubicBezTo>
                  <a:pt x="150" y="38"/>
                  <a:pt x="158" y="38"/>
                  <a:pt x="159" y="37"/>
                </a:cubicBezTo>
                <a:cubicBezTo>
                  <a:pt x="160" y="36"/>
                  <a:pt x="166" y="29"/>
                  <a:pt x="168" y="28"/>
                </a:cubicBezTo>
                <a:cubicBezTo>
                  <a:pt x="169" y="28"/>
                  <a:pt x="181" y="34"/>
                  <a:pt x="182" y="32"/>
                </a:cubicBezTo>
                <a:cubicBezTo>
                  <a:pt x="184" y="30"/>
                  <a:pt x="182" y="27"/>
                  <a:pt x="183" y="26"/>
                </a:cubicBezTo>
                <a:cubicBezTo>
                  <a:pt x="184" y="25"/>
                  <a:pt x="187" y="21"/>
                  <a:pt x="188" y="22"/>
                </a:cubicBezTo>
                <a:cubicBezTo>
                  <a:pt x="190" y="23"/>
                  <a:pt x="194" y="26"/>
                  <a:pt x="193" y="28"/>
                </a:cubicBezTo>
                <a:cubicBezTo>
                  <a:pt x="192" y="31"/>
                  <a:pt x="191" y="32"/>
                  <a:pt x="193" y="33"/>
                </a:cubicBezTo>
                <a:cubicBezTo>
                  <a:pt x="195" y="35"/>
                  <a:pt x="196" y="38"/>
                  <a:pt x="194" y="38"/>
                </a:cubicBezTo>
                <a:cubicBezTo>
                  <a:pt x="192" y="37"/>
                  <a:pt x="185" y="35"/>
                  <a:pt x="185" y="37"/>
                </a:cubicBezTo>
                <a:cubicBezTo>
                  <a:pt x="184" y="40"/>
                  <a:pt x="186" y="44"/>
                  <a:pt x="187" y="44"/>
                </a:cubicBezTo>
                <a:cubicBezTo>
                  <a:pt x="188" y="45"/>
                  <a:pt x="194" y="44"/>
                  <a:pt x="195" y="45"/>
                </a:cubicBezTo>
                <a:cubicBezTo>
                  <a:pt x="196" y="46"/>
                  <a:pt x="201" y="50"/>
                  <a:pt x="203" y="51"/>
                </a:cubicBezTo>
                <a:cubicBezTo>
                  <a:pt x="204" y="51"/>
                  <a:pt x="206" y="50"/>
                  <a:pt x="208" y="50"/>
                </a:cubicBezTo>
                <a:cubicBezTo>
                  <a:pt x="207" y="59"/>
                  <a:pt x="206" y="72"/>
                  <a:pt x="206" y="76"/>
                </a:cubicBezTo>
                <a:cubicBezTo>
                  <a:pt x="206" y="81"/>
                  <a:pt x="200" y="85"/>
                  <a:pt x="198" y="89"/>
                </a:cubicBezTo>
                <a:cubicBezTo>
                  <a:pt x="196" y="92"/>
                  <a:pt x="203" y="95"/>
                  <a:pt x="208" y="99"/>
                </a:cubicBezTo>
                <a:cubicBezTo>
                  <a:pt x="212" y="103"/>
                  <a:pt x="208" y="116"/>
                  <a:pt x="208" y="123"/>
                </a:cubicBezTo>
                <a:cubicBezTo>
                  <a:pt x="208" y="130"/>
                  <a:pt x="212" y="141"/>
                  <a:pt x="212" y="144"/>
                </a:cubicBezTo>
                <a:cubicBezTo>
                  <a:pt x="214" y="148"/>
                  <a:pt x="210" y="158"/>
                  <a:pt x="214" y="16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2" name="Freeform 823"/>
          <p:cNvSpPr>
            <a:spLocks/>
          </p:cNvSpPr>
          <p:nvPr/>
        </p:nvSpPr>
        <p:spPr bwMode="auto">
          <a:xfrm>
            <a:off x="3867239" y="4834797"/>
            <a:ext cx="105818" cy="34935"/>
          </a:xfrm>
          <a:custGeom>
            <a:avLst/>
            <a:gdLst>
              <a:gd name="T0" fmla="*/ 9 w 18"/>
              <a:gd name="T1" fmla="*/ 0 h 7"/>
              <a:gd name="T2" fmla="*/ 18 w 18"/>
              <a:gd name="T3" fmla="*/ 5 h 7"/>
              <a:gd name="T4" fmla="*/ 10 w 18"/>
              <a:gd name="T5" fmla="*/ 7 h 7"/>
              <a:gd name="T6" fmla="*/ 1 w 18"/>
              <a:gd name="T7" fmla="*/ 4 h 7"/>
              <a:gd name="T8" fmla="*/ 2 w 18"/>
              <a:gd name="T9" fmla="*/ 1 h 7"/>
              <a:gd name="T10" fmla="*/ 9 w 18"/>
              <a:gd name="T1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7">
                <a:moveTo>
                  <a:pt x="9" y="0"/>
                </a:moveTo>
                <a:cubicBezTo>
                  <a:pt x="11" y="0"/>
                  <a:pt x="18" y="4"/>
                  <a:pt x="18" y="5"/>
                </a:cubicBezTo>
                <a:cubicBezTo>
                  <a:pt x="18" y="7"/>
                  <a:pt x="13" y="7"/>
                  <a:pt x="10" y="7"/>
                </a:cubicBezTo>
                <a:cubicBezTo>
                  <a:pt x="7" y="7"/>
                  <a:pt x="2" y="5"/>
                  <a:pt x="1" y="4"/>
                </a:cubicBezTo>
                <a:cubicBezTo>
                  <a:pt x="0" y="3"/>
                  <a:pt x="1" y="2"/>
                  <a:pt x="2" y="1"/>
                </a:cubicBezTo>
                <a:cubicBezTo>
                  <a:pt x="3" y="0"/>
                  <a:pt x="6" y="0"/>
                  <a:pt x="9" y="0"/>
                </a:cubicBezTo>
                <a:close/>
              </a:path>
            </a:pathLst>
          </a:custGeom>
          <a:solidFill>
            <a:srgbClr val="DAEFC3"/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3" name="Freeform 824"/>
          <p:cNvSpPr>
            <a:spLocks/>
          </p:cNvSpPr>
          <p:nvPr/>
        </p:nvSpPr>
        <p:spPr bwMode="auto">
          <a:xfrm>
            <a:off x="3585057" y="4482741"/>
            <a:ext cx="54513" cy="134372"/>
          </a:xfrm>
          <a:custGeom>
            <a:avLst/>
            <a:gdLst>
              <a:gd name="T0" fmla="*/ 5 w 9"/>
              <a:gd name="T1" fmla="*/ 3 h 27"/>
              <a:gd name="T2" fmla="*/ 8 w 9"/>
              <a:gd name="T3" fmla="*/ 7 h 27"/>
              <a:gd name="T4" fmla="*/ 7 w 9"/>
              <a:gd name="T5" fmla="*/ 19 h 27"/>
              <a:gd name="T6" fmla="*/ 6 w 9"/>
              <a:gd name="T7" fmla="*/ 26 h 27"/>
              <a:gd name="T8" fmla="*/ 1 w 9"/>
              <a:gd name="T9" fmla="*/ 21 h 27"/>
              <a:gd name="T10" fmla="*/ 1 w 9"/>
              <a:gd name="T11" fmla="*/ 11 h 27"/>
              <a:gd name="T12" fmla="*/ 5 w 9"/>
              <a:gd name="T13" fmla="*/ 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7">
                <a:moveTo>
                  <a:pt x="5" y="3"/>
                </a:moveTo>
                <a:cubicBezTo>
                  <a:pt x="7" y="0"/>
                  <a:pt x="9" y="4"/>
                  <a:pt x="8" y="7"/>
                </a:cubicBezTo>
                <a:cubicBezTo>
                  <a:pt x="7" y="9"/>
                  <a:pt x="6" y="16"/>
                  <a:pt x="7" y="19"/>
                </a:cubicBezTo>
                <a:cubicBezTo>
                  <a:pt x="7" y="22"/>
                  <a:pt x="7" y="25"/>
                  <a:pt x="6" y="26"/>
                </a:cubicBezTo>
                <a:cubicBezTo>
                  <a:pt x="5" y="27"/>
                  <a:pt x="1" y="22"/>
                  <a:pt x="1" y="21"/>
                </a:cubicBezTo>
                <a:cubicBezTo>
                  <a:pt x="0" y="20"/>
                  <a:pt x="1" y="14"/>
                  <a:pt x="1" y="11"/>
                </a:cubicBezTo>
                <a:cubicBezTo>
                  <a:pt x="2" y="8"/>
                  <a:pt x="4" y="4"/>
                  <a:pt x="5" y="3"/>
                </a:cubicBezTo>
                <a:close/>
              </a:path>
            </a:pathLst>
          </a:custGeom>
          <a:solidFill>
            <a:srgbClr val="DAEFC3"/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4" name="Freeform 828"/>
          <p:cNvSpPr>
            <a:spLocks/>
          </p:cNvSpPr>
          <p:nvPr/>
        </p:nvSpPr>
        <p:spPr bwMode="auto">
          <a:xfrm>
            <a:off x="3328529" y="2426831"/>
            <a:ext cx="227668" cy="287559"/>
          </a:xfrm>
          <a:custGeom>
            <a:avLst/>
            <a:gdLst>
              <a:gd name="T0" fmla="*/ 36 w 38"/>
              <a:gd name="T1" fmla="*/ 10 h 57"/>
              <a:gd name="T2" fmla="*/ 37 w 38"/>
              <a:gd name="T3" fmla="*/ 17 h 57"/>
              <a:gd name="T4" fmla="*/ 29 w 38"/>
              <a:gd name="T5" fmla="*/ 22 h 57"/>
              <a:gd name="T6" fmla="*/ 34 w 38"/>
              <a:gd name="T7" fmla="*/ 27 h 57"/>
              <a:gd name="T8" fmla="*/ 28 w 38"/>
              <a:gd name="T9" fmla="*/ 33 h 57"/>
              <a:gd name="T10" fmla="*/ 30 w 38"/>
              <a:gd name="T11" fmla="*/ 38 h 57"/>
              <a:gd name="T12" fmla="*/ 36 w 38"/>
              <a:gd name="T13" fmla="*/ 43 h 57"/>
              <a:gd name="T14" fmla="*/ 31 w 38"/>
              <a:gd name="T15" fmla="*/ 45 h 57"/>
              <a:gd name="T16" fmla="*/ 26 w 38"/>
              <a:gd name="T17" fmla="*/ 46 h 57"/>
              <a:gd name="T18" fmla="*/ 22 w 38"/>
              <a:gd name="T19" fmla="*/ 53 h 57"/>
              <a:gd name="T20" fmla="*/ 20 w 38"/>
              <a:gd name="T21" fmla="*/ 56 h 57"/>
              <a:gd name="T22" fmla="*/ 12 w 38"/>
              <a:gd name="T23" fmla="*/ 51 h 57"/>
              <a:gd name="T24" fmla="*/ 2 w 38"/>
              <a:gd name="T25" fmla="*/ 46 h 57"/>
              <a:gd name="T26" fmla="*/ 2 w 38"/>
              <a:gd name="T27" fmla="*/ 42 h 57"/>
              <a:gd name="T28" fmla="*/ 9 w 38"/>
              <a:gd name="T29" fmla="*/ 41 h 57"/>
              <a:gd name="T30" fmla="*/ 15 w 38"/>
              <a:gd name="T31" fmla="*/ 44 h 57"/>
              <a:gd name="T32" fmla="*/ 21 w 38"/>
              <a:gd name="T33" fmla="*/ 39 h 57"/>
              <a:gd name="T34" fmla="*/ 16 w 38"/>
              <a:gd name="T35" fmla="*/ 32 h 57"/>
              <a:gd name="T36" fmla="*/ 8 w 38"/>
              <a:gd name="T37" fmla="*/ 29 h 57"/>
              <a:gd name="T38" fmla="*/ 6 w 38"/>
              <a:gd name="T39" fmla="*/ 13 h 57"/>
              <a:gd name="T40" fmla="*/ 8 w 38"/>
              <a:gd name="T41" fmla="*/ 8 h 57"/>
              <a:gd name="T42" fmla="*/ 18 w 38"/>
              <a:gd name="T43" fmla="*/ 5 h 57"/>
              <a:gd name="T44" fmla="*/ 29 w 38"/>
              <a:gd name="T45" fmla="*/ 0 h 57"/>
              <a:gd name="T46" fmla="*/ 36 w 38"/>
              <a:gd name="T47" fmla="*/ 3 h 57"/>
              <a:gd name="T48" fmla="*/ 36 w 38"/>
              <a:gd name="T49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8" h="57">
                <a:moveTo>
                  <a:pt x="36" y="10"/>
                </a:moveTo>
                <a:cubicBezTo>
                  <a:pt x="36" y="12"/>
                  <a:pt x="38" y="15"/>
                  <a:pt x="37" y="17"/>
                </a:cubicBezTo>
                <a:cubicBezTo>
                  <a:pt x="36" y="18"/>
                  <a:pt x="29" y="19"/>
                  <a:pt x="29" y="22"/>
                </a:cubicBezTo>
                <a:cubicBezTo>
                  <a:pt x="30" y="25"/>
                  <a:pt x="34" y="25"/>
                  <a:pt x="34" y="27"/>
                </a:cubicBezTo>
                <a:cubicBezTo>
                  <a:pt x="34" y="33"/>
                  <a:pt x="28" y="31"/>
                  <a:pt x="28" y="33"/>
                </a:cubicBezTo>
                <a:cubicBezTo>
                  <a:pt x="28" y="35"/>
                  <a:pt x="28" y="38"/>
                  <a:pt x="30" y="38"/>
                </a:cubicBezTo>
                <a:cubicBezTo>
                  <a:pt x="33" y="39"/>
                  <a:pt x="36" y="41"/>
                  <a:pt x="36" y="43"/>
                </a:cubicBezTo>
                <a:cubicBezTo>
                  <a:pt x="36" y="45"/>
                  <a:pt x="33" y="46"/>
                  <a:pt x="31" y="45"/>
                </a:cubicBezTo>
                <a:cubicBezTo>
                  <a:pt x="29" y="44"/>
                  <a:pt x="28" y="44"/>
                  <a:pt x="26" y="46"/>
                </a:cubicBezTo>
                <a:cubicBezTo>
                  <a:pt x="25" y="47"/>
                  <a:pt x="22" y="52"/>
                  <a:pt x="22" y="53"/>
                </a:cubicBezTo>
                <a:cubicBezTo>
                  <a:pt x="22" y="54"/>
                  <a:pt x="22" y="57"/>
                  <a:pt x="20" y="56"/>
                </a:cubicBezTo>
                <a:cubicBezTo>
                  <a:pt x="18" y="55"/>
                  <a:pt x="15" y="52"/>
                  <a:pt x="12" y="51"/>
                </a:cubicBezTo>
                <a:cubicBezTo>
                  <a:pt x="9" y="50"/>
                  <a:pt x="3" y="48"/>
                  <a:pt x="2" y="46"/>
                </a:cubicBezTo>
                <a:cubicBezTo>
                  <a:pt x="0" y="44"/>
                  <a:pt x="2" y="42"/>
                  <a:pt x="2" y="42"/>
                </a:cubicBezTo>
                <a:cubicBezTo>
                  <a:pt x="4" y="40"/>
                  <a:pt x="8" y="39"/>
                  <a:pt x="9" y="41"/>
                </a:cubicBezTo>
                <a:cubicBezTo>
                  <a:pt x="10" y="42"/>
                  <a:pt x="13" y="44"/>
                  <a:pt x="15" y="44"/>
                </a:cubicBezTo>
                <a:cubicBezTo>
                  <a:pt x="18" y="43"/>
                  <a:pt x="22" y="42"/>
                  <a:pt x="21" y="39"/>
                </a:cubicBezTo>
                <a:cubicBezTo>
                  <a:pt x="20" y="36"/>
                  <a:pt x="18" y="33"/>
                  <a:pt x="16" y="32"/>
                </a:cubicBezTo>
                <a:cubicBezTo>
                  <a:pt x="14" y="31"/>
                  <a:pt x="8" y="32"/>
                  <a:pt x="8" y="29"/>
                </a:cubicBezTo>
                <a:cubicBezTo>
                  <a:pt x="8" y="26"/>
                  <a:pt x="8" y="15"/>
                  <a:pt x="6" y="13"/>
                </a:cubicBezTo>
                <a:cubicBezTo>
                  <a:pt x="5" y="11"/>
                  <a:pt x="3" y="9"/>
                  <a:pt x="8" y="8"/>
                </a:cubicBezTo>
                <a:cubicBezTo>
                  <a:pt x="13" y="7"/>
                  <a:pt x="14" y="7"/>
                  <a:pt x="18" y="5"/>
                </a:cubicBezTo>
                <a:cubicBezTo>
                  <a:pt x="22" y="4"/>
                  <a:pt x="27" y="1"/>
                  <a:pt x="29" y="0"/>
                </a:cubicBezTo>
                <a:cubicBezTo>
                  <a:pt x="31" y="0"/>
                  <a:pt x="36" y="1"/>
                  <a:pt x="36" y="3"/>
                </a:cubicBezTo>
                <a:cubicBezTo>
                  <a:pt x="36" y="5"/>
                  <a:pt x="35" y="7"/>
                  <a:pt x="36" y="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5" name="Freeform 829"/>
          <p:cNvSpPr>
            <a:spLocks/>
          </p:cNvSpPr>
          <p:nvPr/>
        </p:nvSpPr>
        <p:spPr bwMode="auto">
          <a:xfrm>
            <a:off x="2988628" y="2096273"/>
            <a:ext cx="400824" cy="515993"/>
          </a:xfrm>
          <a:custGeom>
            <a:avLst/>
            <a:gdLst>
              <a:gd name="T0" fmla="*/ 67 w 67"/>
              <a:gd name="T1" fmla="*/ 2 h 103"/>
              <a:gd name="T2" fmla="*/ 61 w 67"/>
              <a:gd name="T3" fmla="*/ 8 h 103"/>
              <a:gd name="T4" fmla="*/ 61 w 67"/>
              <a:gd name="T5" fmla="*/ 20 h 103"/>
              <a:gd name="T6" fmla="*/ 55 w 67"/>
              <a:gd name="T7" fmla="*/ 28 h 103"/>
              <a:gd name="T8" fmla="*/ 54 w 67"/>
              <a:gd name="T9" fmla="*/ 43 h 103"/>
              <a:gd name="T10" fmla="*/ 58 w 67"/>
              <a:gd name="T11" fmla="*/ 46 h 103"/>
              <a:gd name="T12" fmla="*/ 64 w 67"/>
              <a:gd name="T13" fmla="*/ 47 h 103"/>
              <a:gd name="T14" fmla="*/ 64 w 67"/>
              <a:gd name="T15" fmla="*/ 54 h 103"/>
              <a:gd name="T16" fmla="*/ 58 w 67"/>
              <a:gd name="T17" fmla="*/ 61 h 103"/>
              <a:gd name="T18" fmla="*/ 53 w 67"/>
              <a:gd name="T19" fmla="*/ 57 h 103"/>
              <a:gd name="T20" fmla="*/ 49 w 67"/>
              <a:gd name="T21" fmla="*/ 62 h 103"/>
              <a:gd name="T22" fmla="*/ 47 w 67"/>
              <a:gd name="T23" fmla="*/ 70 h 103"/>
              <a:gd name="T24" fmla="*/ 41 w 67"/>
              <a:gd name="T25" fmla="*/ 74 h 103"/>
              <a:gd name="T26" fmla="*/ 35 w 67"/>
              <a:gd name="T27" fmla="*/ 74 h 103"/>
              <a:gd name="T28" fmla="*/ 37 w 67"/>
              <a:gd name="T29" fmla="*/ 81 h 103"/>
              <a:gd name="T30" fmla="*/ 42 w 67"/>
              <a:gd name="T31" fmla="*/ 81 h 103"/>
              <a:gd name="T32" fmla="*/ 49 w 67"/>
              <a:gd name="T33" fmla="*/ 79 h 103"/>
              <a:gd name="T34" fmla="*/ 57 w 67"/>
              <a:gd name="T35" fmla="*/ 89 h 103"/>
              <a:gd name="T36" fmla="*/ 53 w 67"/>
              <a:gd name="T37" fmla="*/ 99 h 103"/>
              <a:gd name="T38" fmla="*/ 45 w 67"/>
              <a:gd name="T39" fmla="*/ 99 h 103"/>
              <a:gd name="T40" fmla="*/ 38 w 67"/>
              <a:gd name="T41" fmla="*/ 91 h 103"/>
              <a:gd name="T42" fmla="*/ 37 w 67"/>
              <a:gd name="T43" fmla="*/ 86 h 103"/>
              <a:gd name="T44" fmla="*/ 32 w 67"/>
              <a:gd name="T45" fmla="*/ 86 h 103"/>
              <a:gd name="T46" fmla="*/ 29 w 67"/>
              <a:gd name="T47" fmla="*/ 95 h 103"/>
              <a:gd name="T48" fmla="*/ 37 w 67"/>
              <a:gd name="T49" fmla="*/ 101 h 103"/>
              <a:gd name="T50" fmla="*/ 29 w 67"/>
              <a:gd name="T51" fmla="*/ 103 h 103"/>
              <a:gd name="T52" fmla="*/ 17 w 67"/>
              <a:gd name="T53" fmla="*/ 101 h 103"/>
              <a:gd name="T54" fmla="*/ 8 w 67"/>
              <a:gd name="T55" fmla="*/ 98 h 103"/>
              <a:gd name="T56" fmla="*/ 8 w 67"/>
              <a:gd name="T57" fmla="*/ 98 h 103"/>
              <a:gd name="T58" fmla="*/ 11 w 67"/>
              <a:gd name="T59" fmla="*/ 81 h 103"/>
              <a:gd name="T60" fmla="*/ 1 w 67"/>
              <a:gd name="T61" fmla="*/ 75 h 103"/>
              <a:gd name="T62" fmla="*/ 0 w 67"/>
              <a:gd name="T63" fmla="*/ 71 h 103"/>
              <a:gd name="T64" fmla="*/ 4 w 67"/>
              <a:gd name="T65" fmla="*/ 64 h 103"/>
              <a:gd name="T66" fmla="*/ 7 w 67"/>
              <a:gd name="T67" fmla="*/ 38 h 103"/>
              <a:gd name="T68" fmla="*/ 14 w 67"/>
              <a:gd name="T69" fmla="*/ 25 h 103"/>
              <a:gd name="T70" fmla="*/ 20 w 67"/>
              <a:gd name="T71" fmla="*/ 17 h 103"/>
              <a:gd name="T72" fmla="*/ 26 w 67"/>
              <a:gd name="T73" fmla="*/ 19 h 103"/>
              <a:gd name="T74" fmla="*/ 35 w 67"/>
              <a:gd name="T75" fmla="*/ 19 h 103"/>
              <a:gd name="T76" fmla="*/ 47 w 67"/>
              <a:gd name="T77" fmla="*/ 5 h 103"/>
              <a:gd name="T78" fmla="*/ 54 w 67"/>
              <a:gd name="T79" fmla="*/ 5 h 103"/>
              <a:gd name="T80" fmla="*/ 62 w 67"/>
              <a:gd name="T81" fmla="*/ 0 h 103"/>
              <a:gd name="T82" fmla="*/ 67 w 67"/>
              <a:gd name="T83" fmla="*/ 2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" h="103">
                <a:moveTo>
                  <a:pt x="67" y="2"/>
                </a:moveTo>
                <a:cubicBezTo>
                  <a:pt x="67" y="4"/>
                  <a:pt x="61" y="6"/>
                  <a:pt x="61" y="8"/>
                </a:cubicBezTo>
                <a:cubicBezTo>
                  <a:pt x="61" y="10"/>
                  <a:pt x="62" y="18"/>
                  <a:pt x="61" y="20"/>
                </a:cubicBezTo>
                <a:cubicBezTo>
                  <a:pt x="60" y="22"/>
                  <a:pt x="57" y="25"/>
                  <a:pt x="55" y="28"/>
                </a:cubicBezTo>
                <a:cubicBezTo>
                  <a:pt x="53" y="32"/>
                  <a:pt x="53" y="41"/>
                  <a:pt x="54" y="43"/>
                </a:cubicBezTo>
                <a:cubicBezTo>
                  <a:pt x="55" y="45"/>
                  <a:pt x="55" y="46"/>
                  <a:pt x="58" y="46"/>
                </a:cubicBezTo>
                <a:cubicBezTo>
                  <a:pt x="60" y="46"/>
                  <a:pt x="62" y="46"/>
                  <a:pt x="64" y="47"/>
                </a:cubicBezTo>
                <a:cubicBezTo>
                  <a:pt x="65" y="48"/>
                  <a:pt x="65" y="53"/>
                  <a:pt x="64" y="54"/>
                </a:cubicBezTo>
                <a:cubicBezTo>
                  <a:pt x="63" y="56"/>
                  <a:pt x="58" y="61"/>
                  <a:pt x="58" y="61"/>
                </a:cubicBezTo>
                <a:cubicBezTo>
                  <a:pt x="57" y="61"/>
                  <a:pt x="54" y="58"/>
                  <a:pt x="53" y="57"/>
                </a:cubicBezTo>
                <a:cubicBezTo>
                  <a:pt x="51" y="55"/>
                  <a:pt x="49" y="58"/>
                  <a:pt x="49" y="62"/>
                </a:cubicBezTo>
                <a:cubicBezTo>
                  <a:pt x="49" y="66"/>
                  <a:pt x="48" y="68"/>
                  <a:pt x="47" y="70"/>
                </a:cubicBezTo>
                <a:cubicBezTo>
                  <a:pt x="46" y="71"/>
                  <a:pt x="43" y="74"/>
                  <a:pt x="41" y="74"/>
                </a:cubicBezTo>
                <a:cubicBezTo>
                  <a:pt x="38" y="73"/>
                  <a:pt x="36" y="72"/>
                  <a:pt x="35" y="74"/>
                </a:cubicBezTo>
                <a:cubicBezTo>
                  <a:pt x="35" y="76"/>
                  <a:pt x="36" y="80"/>
                  <a:pt x="37" y="81"/>
                </a:cubicBezTo>
                <a:cubicBezTo>
                  <a:pt x="38" y="82"/>
                  <a:pt x="40" y="82"/>
                  <a:pt x="42" y="81"/>
                </a:cubicBezTo>
                <a:cubicBezTo>
                  <a:pt x="44" y="80"/>
                  <a:pt x="48" y="77"/>
                  <a:pt x="49" y="79"/>
                </a:cubicBezTo>
                <a:cubicBezTo>
                  <a:pt x="51" y="80"/>
                  <a:pt x="57" y="86"/>
                  <a:pt x="57" y="89"/>
                </a:cubicBezTo>
                <a:cubicBezTo>
                  <a:pt x="57" y="92"/>
                  <a:pt x="55" y="99"/>
                  <a:pt x="53" y="99"/>
                </a:cubicBezTo>
                <a:cubicBezTo>
                  <a:pt x="51" y="99"/>
                  <a:pt x="47" y="101"/>
                  <a:pt x="45" y="99"/>
                </a:cubicBezTo>
                <a:cubicBezTo>
                  <a:pt x="43" y="97"/>
                  <a:pt x="39" y="93"/>
                  <a:pt x="38" y="91"/>
                </a:cubicBezTo>
                <a:cubicBezTo>
                  <a:pt x="37" y="89"/>
                  <a:pt x="38" y="87"/>
                  <a:pt x="37" y="86"/>
                </a:cubicBezTo>
                <a:cubicBezTo>
                  <a:pt x="35" y="85"/>
                  <a:pt x="32" y="85"/>
                  <a:pt x="32" y="86"/>
                </a:cubicBezTo>
                <a:cubicBezTo>
                  <a:pt x="31" y="87"/>
                  <a:pt x="30" y="93"/>
                  <a:pt x="29" y="95"/>
                </a:cubicBezTo>
                <a:cubicBezTo>
                  <a:pt x="29" y="96"/>
                  <a:pt x="35" y="99"/>
                  <a:pt x="37" y="101"/>
                </a:cubicBezTo>
                <a:cubicBezTo>
                  <a:pt x="29" y="103"/>
                  <a:pt x="29" y="103"/>
                  <a:pt x="29" y="103"/>
                </a:cubicBezTo>
                <a:cubicBezTo>
                  <a:pt x="26" y="103"/>
                  <a:pt x="22" y="103"/>
                  <a:pt x="17" y="101"/>
                </a:cubicBezTo>
                <a:cubicBezTo>
                  <a:pt x="15" y="100"/>
                  <a:pt x="11" y="99"/>
                  <a:pt x="8" y="98"/>
                </a:cubicBezTo>
                <a:cubicBezTo>
                  <a:pt x="8" y="98"/>
                  <a:pt x="8" y="98"/>
                  <a:pt x="8" y="98"/>
                </a:cubicBezTo>
                <a:cubicBezTo>
                  <a:pt x="9" y="95"/>
                  <a:pt x="13" y="83"/>
                  <a:pt x="11" y="81"/>
                </a:cubicBezTo>
                <a:cubicBezTo>
                  <a:pt x="8" y="79"/>
                  <a:pt x="2" y="78"/>
                  <a:pt x="1" y="75"/>
                </a:cubicBezTo>
                <a:cubicBezTo>
                  <a:pt x="0" y="73"/>
                  <a:pt x="0" y="71"/>
                  <a:pt x="0" y="71"/>
                </a:cubicBezTo>
                <a:cubicBezTo>
                  <a:pt x="1" y="71"/>
                  <a:pt x="4" y="68"/>
                  <a:pt x="4" y="64"/>
                </a:cubicBezTo>
                <a:cubicBezTo>
                  <a:pt x="4" y="60"/>
                  <a:pt x="6" y="42"/>
                  <a:pt x="7" y="38"/>
                </a:cubicBezTo>
                <a:cubicBezTo>
                  <a:pt x="8" y="35"/>
                  <a:pt x="13" y="27"/>
                  <a:pt x="14" y="25"/>
                </a:cubicBezTo>
                <a:cubicBezTo>
                  <a:pt x="15" y="23"/>
                  <a:pt x="18" y="18"/>
                  <a:pt x="20" y="17"/>
                </a:cubicBezTo>
                <a:cubicBezTo>
                  <a:pt x="22" y="17"/>
                  <a:pt x="25" y="20"/>
                  <a:pt x="26" y="19"/>
                </a:cubicBezTo>
                <a:cubicBezTo>
                  <a:pt x="28" y="19"/>
                  <a:pt x="33" y="19"/>
                  <a:pt x="35" y="19"/>
                </a:cubicBezTo>
                <a:cubicBezTo>
                  <a:pt x="40" y="17"/>
                  <a:pt x="46" y="7"/>
                  <a:pt x="47" y="5"/>
                </a:cubicBezTo>
                <a:cubicBezTo>
                  <a:pt x="49" y="4"/>
                  <a:pt x="53" y="5"/>
                  <a:pt x="54" y="5"/>
                </a:cubicBezTo>
                <a:cubicBezTo>
                  <a:pt x="56" y="5"/>
                  <a:pt x="60" y="0"/>
                  <a:pt x="62" y="0"/>
                </a:cubicBezTo>
                <a:cubicBezTo>
                  <a:pt x="64" y="0"/>
                  <a:pt x="67" y="0"/>
                  <a:pt x="67" y="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6" name="Freeform 831"/>
          <p:cNvSpPr>
            <a:spLocks/>
          </p:cNvSpPr>
          <p:nvPr/>
        </p:nvSpPr>
        <p:spPr bwMode="auto">
          <a:xfrm>
            <a:off x="2244697" y="2813827"/>
            <a:ext cx="545124" cy="481057"/>
          </a:xfrm>
          <a:custGeom>
            <a:avLst/>
            <a:gdLst>
              <a:gd name="T0" fmla="*/ 91 w 91"/>
              <a:gd name="T1" fmla="*/ 12 h 96"/>
              <a:gd name="T2" fmla="*/ 91 w 91"/>
              <a:gd name="T3" fmla="*/ 13 h 96"/>
              <a:gd name="T4" fmla="*/ 86 w 91"/>
              <a:gd name="T5" fmla="*/ 29 h 96"/>
              <a:gd name="T6" fmla="*/ 77 w 91"/>
              <a:gd name="T7" fmla="*/ 30 h 96"/>
              <a:gd name="T8" fmla="*/ 74 w 91"/>
              <a:gd name="T9" fmla="*/ 39 h 96"/>
              <a:gd name="T10" fmla="*/ 82 w 91"/>
              <a:gd name="T11" fmla="*/ 46 h 96"/>
              <a:gd name="T12" fmla="*/ 70 w 91"/>
              <a:gd name="T13" fmla="*/ 58 h 96"/>
              <a:gd name="T14" fmla="*/ 56 w 91"/>
              <a:gd name="T15" fmla="*/ 58 h 96"/>
              <a:gd name="T16" fmla="*/ 52 w 91"/>
              <a:gd name="T17" fmla="*/ 65 h 96"/>
              <a:gd name="T18" fmla="*/ 56 w 91"/>
              <a:gd name="T19" fmla="*/ 79 h 96"/>
              <a:gd name="T20" fmla="*/ 51 w 91"/>
              <a:gd name="T21" fmla="*/ 96 h 96"/>
              <a:gd name="T22" fmla="*/ 41 w 91"/>
              <a:gd name="T23" fmla="*/ 96 h 96"/>
              <a:gd name="T24" fmla="*/ 37 w 91"/>
              <a:gd name="T25" fmla="*/ 90 h 96"/>
              <a:gd name="T26" fmla="*/ 40 w 91"/>
              <a:gd name="T27" fmla="*/ 78 h 96"/>
              <a:gd name="T28" fmla="*/ 34 w 91"/>
              <a:gd name="T29" fmla="*/ 73 h 96"/>
              <a:gd name="T30" fmla="*/ 23 w 91"/>
              <a:gd name="T31" fmla="*/ 67 h 96"/>
              <a:gd name="T32" fmla="*/ 6 w 91"/>
              <a:gd name="T33" fmla="*/ 64 h 96"/>
              <a:gd name="T34" fmla="*/ 0 w 91"/>
              <a:gd name="T35" fmla="*/ 55 h 96"/>
              <a:gd name="T36" fmla="*/ 13 w 91"/>
              <a:gd name="T37" fmla="*/ 46 h 96"/>
              <a:gd name="T38" fmla="*/ 29 w 91"/>
              <a:gd name="T39" fmla="*/ 29 h 96"/>
              <a:gd name="T40" fmla="*/ 35 w 91"/>
              <a:gd name="T41" fmla="*/ 12 h 96"/>
              <a:gd name="T42" fmla="*/ 38 w 91"/>
              <a:gd name="T43" fmla="*/ 5 h 96"/>
              <a:gd name="T44" fmla="*/ 42 w 91"/>
              <a:gd name="T45" fmla="*/ 6 h 96"/>
              <a:gd name="T46" fmla="*/ 41 w 91"/>
              <a:gd name="T47" fmla="*/ 14 h 96"/>
              <a:gd name="T48" fmla="*/ 45 w 91"/>
              <a:gd name="T49" fmla="*/ 19 h 96"/>
              <a:gd name="T50" fmla="*/ 45 w 91"/>
              <a:gd name="T51" fmla="*/ 26 h 96"/>
              <a:gd name="T52" fmla="*/ 40 w 91"/>
              <a:gd name="T53" fmla="*/ 27 h 96"/>
              <a:gd name="T54" fmla="*/ 38 w 91"/>
              <a:gd name="T55" fmla="*/ 35 h 96"/>
              <a:gd name="T56" fmla="*/ 41 w 91"/>
              <a:gd name="T57" fmla="*/ 36 h 96"/>
              <a:gd name="T58" fmla="*/ 53 w 91"/>
              <a:gd name="T59" fmla="*/ 29 h 96"/>
              <a:gd name="T60" fmla="*/ 56 w 91"/>
              <a:gd name="T61" fmla="*/ 20 h 96"/>
              <a:gd name="T62" fmla="*/ 50 w 91"/>
              <a:gd name="T63" fmla="*/ 18 h 96"/>
              <a:gd name="T64" fmla="*/ 54 w 91"/>
              <a:gd name="T65" fmla="*/ 6 h 96"/>
              <a:gd name="T66" fmla="*/ 65 w 91"/>
              <a:gd name="T67" fmla="*/ 2 h 96"/>
              <a:gd name="T68" fmla="*/ 75 w 91"/>
              <a:gd name="T69" fmla="*/ 3 h 96"/>
              <a:gd name="T70" fmla="*/ 83 w 91"/>
              <a:gd name="T71" fmla="*/ 2 h 96"/>
              <a:gd name="T72" fmla="*/ 91 w 91"/>
              <a:gd name="T73" fmla="*/ 1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1" h="96">
                <a:moveTo>
                  <a:pt x="91" y="12"/>
                </a:moveTo>
                <a:cubicBezTo>
                  <a:pt x="91" y="13"/>
                  <a:pt x="91" y="13"/>
                  <a:pt x="91" y="13"/>
                </a:cubicBezTo>
                <a:cubicBezTo>
                  <a:pt x="91" y="17"/>
                  <a:pt x="87" y="28"/>
                  <a:pt x="86" y="29"/>
                </a:cubicBezTo>
                <a:cubicBezTo>
                  <a:pt x="85" y="31"/>
                  <a:pt x="77" y="30"/>
                  <a:pt x="77" y="30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85" y="42"/>
                  <a:pt x="82" y="46"/>
                </a:cubicBezTo>
                <a:cubicBezTo>
                  <a:pt x="78" y="50"/>
                  <a:pt x="73" y="59"/>
                  <a:pt x="70" y="58"/>
                </a:cubicBezTo>
                <a:cubicBezTo>
                  <a:pt x="67" y="58"/>
                  <a:pt x="59" y="57"/>
                  <a:pt x="56" y="58"/>
                </a:cubicBezTo>
                <a:cubicBezTo>
                  <a:pt x="54" y="59"/>
                  <a:pt x="51" y="63"/>
                  <a:pt x="52" y="65"/>
                </a:cubicBezTo>
                <a:cubicBezTo>
                  <a:pt x="53" y="68"/>
                  <a:pt x="58" y="76"/>
                  <a:pt x="56" y="79"/>
                </a:cubicBezTo>
                <a:cubicBezTo>
                  <a:pt x="55" y="83"/>
                  <a:pt x="50" y="90"/>
                  <a:pt x="51" y="96"/>
                </a:cubicBezTo>
                <a:cubicBezTo>
                  <a:pt x="41" y="96"/>
                  <a:pt x="41" y="96"/>
                  <a:pt x="41" y="96"/>
                </a:cubicBezTo>
                <a:cubicBezTo>
                  <a:pt x="39" y="94"/>
                  <a:pt x="35" y="94"/>
                  <a:pt x="37" y="90"/>
                </a:cubicBezTo>
                <a:cubicBezTo>
                  <a:pt x="39" y="86"/>
                  <a:pt x="40" y="81"/>
                  <a:pt x="40" y="78"/>
                </a:cubicBezTo>
                <a:cubicBezTo>
                  <a:pt x="39" y="75"/>
                  <a:pt x="39" y="76"/>
                  <a:pt x="34" y="73"/>
                </a:cubicBezTo>
                <a:cubicBezTo>
                  <a:pt x="29" y="70"/>
                  <a:pt x="26" y="67"/>
                  <a:pt x="23" y="67"/>
                </a:cubicBezTo>
                <a:cubicBezTo>
                  <a:pt x="20" y="67"/>
                  <a:pt x="10" y="67"/>
                  <a:pt x="6" y="64"/>
                </a:cubicBezTo>
                <a:cubicBezTo>
                  <a:pt x="4" y="63"/>
                  <a:pt x="2" y="59"/>
                  <a:pt x="0" y="55"/>
                </a:cubicBezTo>
                <a:cubicBezTo>
                  <a:pt x="3" y="53"/>
                  <a:pt x="9" y="50"/>
                  <a:pt x="13" y="46"/>
                </a:cubicBezTo>
                <a:cubicBezTo>
                  <a:pt x="15" y="43"/>
                  <a:pt x="27" y="35"/>
                  <a:pt x="29" y="29"/>
                </a:cubicBezTo>
                <a:cubicBezTo>
                  <a:pt x="31" y="23"/>
                  <a:pt x="35" y="13"/>
                  <a:pt x="35" y="12"/>
                </a:cubicBezTo>
                <a:cubicBezTo>
                  <a:pt x="35" y="11"/>
                  <a:pt x="37" y="5"/>
                  <a:pt x="38" y="5"/>
                </a:cubicBezTo>
                <a:cubicBezTo>
                  <a:pt x="39" y="4"/>
                  <a:pt x="42" y="3"/>
                  <a:pt x="42" y="6"/>
                </a:cubicBezTo>
                <a:cubicBezTo>
                  <a:pt x="42" y="10"/>
                  <a:pt x="41" y="12"/>
                  <a:pt x="41" y="14"/>
                </a:cubicBezTo>
                <a:cubicBezTo>
                  <a:pt x="41" y="15"/>
                  <a:pt x="43" y="16"/>
                  <a:pt x="45" y="19"/>
                </a:cubicBezTo>
                <a:cubicBezTo>
                  <a:pt x="45" y="22"/>
                  <a:pt x="47" y="25"/>
                  <a:pt x="45" y="26"/>
                </a:cubicBezTo>
                <a:cubicBezTo>
                  <a:pt x="43" y="27"/>
                  <a:pt x="40" y="26"/>
                  <a:pt x="40" y="27"/>
                </a:cubicBezTo>
                <a:cubicBezTo>
                  <a:pt x="40" y="28"/>
                  <a:pt x="37" y="33"/>
                  <a:pt x="38" y="35"/>
                </a:cubicBezTo>
                <a:cubicBezTo>
                  <a:pt x="39" y="36"/>
                  <a:pt x="39" y="36"/>
                  <a:pt x="41" y="36"/>
                </a:cubicBezTo>
                <a:cubicBezTo>
                  <a:pt x="42" y="36"/>
                  <a:pt x="53" y="30"/>
                  <a:pt x="53" y="29"/>
                </a:cubicBezTo>
                <a:cubicBezTo>
                  <a:pt x="54" y="29"/>
                  <a:pt x="57" y="21"/>
                  <a:pt x="56" y="20"/>
                </a:cubicBezTo>
                <a:cubicBezTo>
                  <a:pt x="56" y="19"/>
                  <a:pt x="50" y="20"/>
                  <a:pt x="50" y="18"/>
                </a:cubicBezTo>
                <a:cubicBezTo>
                  <a:pt x="50" y="16"/>
                  <a:pt x="52" y="7"/>
                  <a:pt x="54" y="6"/>
                </a:cubicBezTo>
                <a:cubicBezTo>
                  <a:pt x="55" y="5"/>
                  <a:pt x="63" y="2"/>
                  <a:pt x="65" y="2"/>
                </a:cubicBezTo>
                <a:cubicBezTo>
                  <a:pt x="68" y="2"/>
                  <a:pt x="72" y="3"/>
                  <a:pt x="75" y="3"/>
                </a:cubicBezTo>
                <a:cubicBezTo>
                  <a:pt x="79" y="3"/>
                  <a:pt x="81" y="0"/>
                  <a:pt x="83" y="2"/>
                </a:cubicBezTo>
                <a:cubicBezTo>
                  <a:pt x="85" y="3"/>
                  <a:pt x="82" y="12"/>
                  <a:pt x="91" y="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47" name="Freeform 837"/>
          <p:cNvSpPr>
            <a:spLocks/>
          </p:cNvSpPr>
          <p:nvPr/>
        </p:nvSpPr>
        <p:spPr bwMode="auto">
          <a:xfrm>
            <a:off x="2411439" y="3399694"/>
            <a:ext cx="179571" cy="180060"/>
          </a:xfrm>
          <a:custGeom>
            <a:avLst/>
            <a:gdLst>
              <a:gd name="T0" fmla="*/ 23 w 30"/>
              <a:gd name="T1" fmla="*/ 9 h 36"/>
              <a:gd name="T2" fmla="*/ 30 w 30"/>
              <a:gd name="T3" fmla="*/ 18 h 36"/>
              <a:gd name="T4" fmla="*/ 22 w 30"/>
              <a:gd name="T5" fmla="*/ 28 h 36"/>
              <a:gd name="T6" fmla="*/ 17 w 30"/>
              <a:gd name="T7" fmla="*/ 36 h 36"/>
              <a:gd name="T8" fmla="*/ 10 w 30"/>
              <a:gd name="T9" fmla="*/ 32 h 36"/>
              <a:gd name="T10" fmla="*/ 0 w 30"/>
              <a:gd name="T11" fmla="*/ 29 h 36"/>
              <a:gd name="T12" fmla="*/ 7 w 30"/>
              <a:gd name="T13" fmla="*/ 20 h 36"/>
              <a:gd name="T14" fmla="*/ 8 w 30"/>
              <a:gd name="T15" fmla="*/ 15 h 36"/>
              <a:gd name="T16" fmla="*/ 12 w 30"/>
              <a:gd name="T17" fmla="*/ 4 h 36"/>
              <a:gd name="T18" fmla="*/ 19 w 30"/>
              <a:gd name="T19" fmla="*/ 0 h 36"/>
              <a:gd name="T20" fmla="*/ 23 w 30"/>
              <a:gd name="T21" fmla="*/ 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" h="36">
                <a:moveTo>
                  <a:pt x="23" y="9"/>
                </a:moveTo>
                <a:cubicBezTo>
                  <a:pt x="24" y="14"/>
                  <a:pt x="30" y="17"/>
                  <a:pt x="30" y="18"/>
                </a:cubicBezTo>
                <a:cubicBezTo>
                  <a:pt x="30" y="20"/>
                  <a:pt x="24" y="26"/>
                  <a:pt x="22" y="28"/>
                </a:cubicBezTo>
                <a:cubicBezTo>
                  <a:pt x="20" y="29"/>
                  <a:pt x="17" y="36"/>
                  <a:pt x="17" y="36"/>
                </a:cubicBezTo>
                <a:cubicBezTo>
                  <a:pt x="15" y="35"/>
                  <a:pt x="13" y="33"/>
                  <a:pt x="10" y="32"/>
                </a:cubicBezTo>
                <a:cubicBezTo>
                  <a:pt x="6" y="30"/>
                  <a:pt x="3" y="30"/>
                  <a:pt x="0" y="29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0"/>
                  <a:pt x="8" y="17"/>
                  <a:pt x="8" y="15"/>
                </a:cubicBezTo>
                <a:cubicBezTo>
                  <a:pt x="8" y="12"/>
                  <a:pt x="8" y="9"/>
                  <a:pt x="12" y="4"/>
                </a:cubicBezTo>
                <a:cubicBezTo>
                  <a:pt x="14" y="2"/>
                  <a:pt x="16" y="1"/>
                  <a:pt x="19" y="0"/>
                </a:cubicBezTo>
                <a:lnTo>
                  <a:pt x="23" y="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2" name="Freeform 839"/>
          <p:cNvSpPr>
            <a:spLocks/>
          </p:cNvSpPr>
          <p:nvPr/>
        </p:nvSpPr>
        <p:spPr bwMode="auto">
          <a:xfrm>
            <a:off x="2610249" y="4789113"/>
            <a:ext cx="173158" cy="300997"/>
          </a:xfrm>
          <a:custGeom>
            <a:avLst/>
            <a:gdLst>
              <a:gd name="T0" fmla="*/ 27 w 29"/>
              <a:gd name="T1" fmla="*/ 12 h 60"/>
              <a:gd name="T2" fmla="*/ 27 w 29"/>
              <a:gd name="T3" fmla="*/ 33 h 60"/>
              <a:gd name="T4" fmla="*/ 21 w 29"/>
              <a:gd name="T5" fmla="*/ 44 h 60"/>
              <a:gd name="T6" fmla="*/ 13 w 29"/>
              <a:gd name="T7" fmla="*/ 60 h 60"/>
              <a:gd name="T8" fmla="*/ 5 w 29"/>
              <a:gd name="T9" fmla="*/ 54 h 60"/>
              <a:gd name="T10" fmla="*/ 2 w 29"/>
              <a:gd name="T11" fmla="*/ 48 h 60"/>
              <a:gd name="T12" fmla="*/ 7 w 29"/>
              <a:gd name="T13" fmla="*/ 39 h 60"/>
              <a:gd name="T14" fmla="*/ 1 w 29"/>
              <a:gd name="T15" fmla="*/ 29 h 60"/>
              <a:gd name="T16" fmla="*/ 9 w 29"/>
              <a:gd name="T17" fmla="*/ 14 h 60"/>
              <a:gd name="T18" fmla="*/ 18 w 29"/>
              <a:gd name="T19" fmla="*/ 11 h 60"/>
              <a:gd name="T20" fmla="*/ 23 w 29"/>
              <a:gd name="T21" fmla="*/ 0 h 60"/>
              <a:gd name="T22" fmla="*/ 27 w 29"/>
              <a:gd name="T23" fmla="*/ 1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9" h="60">
                <a:moveTo>
                  <a:pt x="27" y="12"/>
                </a:moveTo>
                <a:cubicBezTo>
                  <a:pt x="28" y="18"/>
                  <a:pt x="29" y="27"/>
                  <a:pt x="27" y="33"/>
                </a:cubicBezTo>
                <a:cubicBezTo>
                  <a:pt x="26" y="39"/>
                  <a:pt x="21" y="42"/>
                  <a:pt x="21" y="44"/>
                </a:cubicBezTo>
                <a:cubicBezTo>
                  <a:pt x="21" y="47"/>
                  <a:pt x="17" y="60"/>
                  <a:pt x="13" y="60"/>
                </a:cubicBezTo>
                <a:cubicBezTo>
                  <a:pt x="9" y="60"/>
                  <a:pt x="7" y="56"/>
                  <a:pt x="5" y="54"/>
                </a:cubicBezTo>
                <a:cubicBezTo>
                  <a:pt x="2" y="51"/>
                  <a:pt x="2" y="48"/>
                  <a:pt x="2" y="48"/>
                </a:cubicBezTo>
                <a:cubicBezTo>
                  <a:pt x="2" y="42"/>
                  <a:pt x="9" y="42"/>
                  <a:pt x="7" y="39"/>
                </a:cubicBezTo>
                <a:cubicBezTo>
                  <a:pt x="5" y="36"/>
                  <a:pt x="0" y="32"/>
                  <a:pt x="1" y="29"/>
                </a:cubicBezTo>
                <a:cubicBezTo>
                  <a:pt x="3" y="26"/>
                  <a:pt x="5" y="15"/>
                  <a:pt x="9" y="14"/>
                </a:cubicBezTo>
                <a:cubicBezTo>
                  <a:pt x="14" y="12"/>
                  <a:pt x="17" y="14"/>
                  <a:pt x="18" y="11"/>
                </a:cubicBezTo>
                <a:cubicBezTo>
                  <a:pt x="19" y="8"/>
                  <a:pt x="17" y="1"/>
                  <a:pt x="23" y="0"/>
                </a:cubicBezTo>
                <a:cubicBezTo>
                  <a:pt x="28" y="0"/>
                  <a:pt x="27" y="5"/>
                  <a:pt x="27" y="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3" name="Freeform 841"/>
          <p:cNvSpPr>
            <a:spLocks/>
          </p:cNvSpPr>
          <p:nvPr/>
        </p:nvSpPr>
        <p:spPr bwMode="auto">
          <a:xfrm>
            <a:off x="2077951" y="3087947"/>
            <a:ext cx="509851" cy="456869"/>
          </a:xfrm>
          <a:custGeom>
            <a:avLst/>
            <a:gdLst>
              <a:gd name="T0" fmla="*/ 32 w 85"/>
              <a:gd name="T1" fmla="*/ 11 h 91"/>
              <a:gd name="T2" fmla="*/ 26 w 85"/>
              <a:gd name="T3" fmla="*/ 2 h 91"/>
              <a:gd name="T4" fmla="*/ 28 w 85"/>
              <a:gd name="T5" fmla="*/ 0 h 91"/>
              <a:gd name="T6" fmla="*/ 34 w 85"/>
              <a:gd name="T7" fmla="*/ 9 h 91"/>
              <a:gd name="T8" fmla="*/ 51 w 85"/>
              <a:gd name="T9" fmla="*/ 12 h 91"/>
              <a:gd name="T10" fmla="*/ 62 w 85"/>
              <a:gd name="T11" fmla="*/ 18 h 91"/>
              <a:gd name="T12" fmla="*/ 68 w 85"/>
              <a:gd name="T13" fmla="*/ 23 h 91"/>
              <a:gd name="T14" fmla="*/ 65 w 85"/>
              <a:gd name="T15" fmla="*/ 35 h 91"/>
              <a:gd name="T16" fmla="*/ 69 w 85"/>
              <a:gd name="T17" fmla="*/ 41 h 91"/>
              <a:gd name="T18" fmla="*/ 79 w 85"/>
              <a:gd name="T19" fmla="*/ 41 h 91"/>
              <a:gd name="T20" fmla="*/ 82 w 85"/>
              <a:gd name="T21" fmla="*/ 58 h 91"/>
              <a:gd name="T22" fmla="*/ 75 w 85"/>
              <a:gd name="T23" fmla="*/ 62 h 91"/>
              <a:gd name="T24" fmla="*/ 68 w 85"/>
              <a:gd name="T25" fmla="*/ 66 h 91"/>
              <a:gd name="T26" fmla="*/ 64 w 85"/>
              <a:gd name="T27" fmla="*/ 77 h 91"/>
              <a:gd name="T28" fmla="*/ 63 w 85"/>
              <a:gd name="T29" fmla="*/ 82 h 91"/>
              <a:gd name="T30" fmla="*/ 56 w 85"/>
              <a:gd name="T31" fmla="*/ 91 h 91"/>
              <a:gd name="T32" fmla="*/ 48 w 85"/>
              <a:gd name="T33" fmla="*/ 85 h 91"/>
              <a:gd name="T34" fmla="*/ 42 w 85"/>
              <a:gd name="T35" fmla="*/ 67 h 91"/>
              <a:gd name="T36" fmla="*/ 30 w 85"/>
              <a:gd name="T37" fmla="*/ 61 h 91"/>
              <a:gd name="T38" fmla="*/ 20 w 85"/>
              <a:gd name="T39" fmla="*/ 47 h 91"/>
              <a:gd name="T40" fmla="*/ 9 w 85"/>
              <a:gd name="T41" fmla="*/ 33 h 91"/>
              <a:gd name="T42" fmla="*/ 0 w 85"/>
              <a:gd name="T43" fmla="*/ 14 h 91"/>
              <a:gd name="T44" fmla="*/ 3 w 85"/>
              <a:gd name="T45" fmla="*/ 13 h 91"/>
              <a:gd name="T46" fmla="*/ 16 w 85"/>
              <a:gd name="T47" fmla="*/ 8 h 91"/>
              <a:gd name="T48" fmla="*/ 23 w 85"/>
              <a:gd name="T49" fmla="*/ 10 h 91"/>
              <a:gd name="T50" fmla="*/ 32 w 85"/>
              <a:gd name="T51" fmla="*/ 1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5" h="91">
                <a:moveTo>
                  <a:pt x="32" y="11"/>
                </a:moveTo>
                <a:cubicBezTo>
                  <a:pt x="33" y="10"/>
                  <a:pt x="26" y="3"/>
                  <a:pt x="26" y="2"/>
                </a:cubicBezTo>
                <a:cubicBezTo>
                  <a:pt x="26" y="1"/>
                  <a:pt x="27" y="1"/>
                  <a:pt x="28" y="0"/>
                </a:cubicBezTo>
                <a:cubicBezTo>
                  <a:pt x="30" y="4"/>
                  <a:pt x="32" y="8"/>
                  <a:pt x="34" y="9"/>
                </a:cubicBezTo>
                <a:cubicBezTo>
                  <a:pt x="38" y="12"/>
                  <a:pt x="48" y="12"/>
                  <a:pt x="51" y="12"/>
                </a:cubicBezTo>
                <a:cubicBezTo>
                  <a:pt x="54" y="12"/>
                  <a:pt x="57" y="15"/>
                  <a:pt x="62" y="18"/>
                </a:cubicBezTo>
                <a:cubicBezTo>
                  <a:pt x="67" y="21"/>
                  <a:pt x="67" y="20"/>
                  <a:pt x="68" y="23"/>
                </a:cubicBezTo>
                <a:cubicBezTo>
                  <a:pt x="68" y="26"/>
                  <a:pt x="67" y="31"/>
                  <a:pt x="65" y="35"/>
                </a:cubicBezTo>
                <a:cubicBezTo>
                  <a:pt x="63" y="39"/>
                  <a:pt x="67" y="39"/>
                  <a:pt x="69" y="41"/>
                </a:cubicBezTo>
                <a:cubicBezTo>
                  <a:pt x="79" y="41"/>
                  <a:pt x="79" y="41"/>
                  <a:pt x="79" y="41"/>
                </a:cubicBezTo>
                <a:cubicBezTo>
                  <a:pt x="81" y="47"/>
                  <a:pt x="85" y="56"/>
                  <a:pt x="82" y="58"/>
                </a:cubicBezTo>
                <a:cubicBezTo>
                  <a:pt x="80" y="59"/>
                  <a:pt x="77" y="60"/>
                  <a:pt x="75" y="62"/>
                </a:cubicBezTo>
                <a:cubicBezTo>
                  <a:pt x="72" y="63"/>
                  <a:pt x="70" y="64"/>
                  <a:pt x="68" y="66"/>
                </a:cubicBezTo>
                <a:cubicBezTo>
                  <a:pt x="64" y="71"/>
                  <a:pt x="64" y="74"/>
                  <a:pt x="64" y="77"/>
                </a:cubicBezTo>
                <a:cubicBezTo>
                  <a:pt x="64" y="79"/>
                  <a:pt x="63" y="82"/>
                  <a:pt x="63" y="82"/>
                </a:cubicBezTo>
                <a:cubicBezTo>
                  <a:pt x="56" y="91"/>
                  <a:pt x="56" y="91"/>
                  <a:pt x="56" y="91"/>
                </a:cubicBezTo>
                <a:cubicBezTo>
                  <a:pt x="53" y="90"/>
                  <a:pt x="51" y="89"/>
                  <a:pt x="48" y="85"/>
                </a:cubicBezTo>
                <a:cubicBezTo>
                  <a:pt x="44" y="78"/>
                  <a:pt x="39" y="73"/>
                  <a:pt x="42" y="67"/>
                </a:cubicBezTo>
                <a:cubicBezTo>
                  <a:pt x="46" y="62"/>
                  <a:pt x="30" y="61"/>
                  <a:pt x="30" y="61"/>
                </a:cubicBezTo>
                <a:cubicBezTo>
                  <a:pt x="30" y="61"/>
                  <a:pt x="23" y="53"/>
                  <a:pt x="20" y="47"/>
                </a:cubicBezTo>
                <a:cubicBezTo>
                  <a:pt x="18" y="41"/>
                  <a:pt x="19" y="37"/>
                  <a:pt x="9" y="33"/>
                </a:cubicBezTo>
                <a:cubicBezTo>
                  <a:pt x="6" y="32"/>
                  <a:pt x="2" y="23"/>
                  <a:pt x="0" y="14"/>
                </a:cubicBezTo>
                <a:cubicBezTo>
                  <a:pt x="1" y="13"/>
                  <a:pt x="3" y="13"/>
                  <a:pt x="3" y="13"/>
                </a:cubicBezTo>
                <a:cubicBezTo>
                  <a:pt x="8" y="11"/>
                  <a:pt x="13" y="9"/>
                  <a:pt x="16" y="8"/>
                </a:cubicBezTo>
                <a:cubicBezTo>
                  <a:pt x="19" y="8"/>
                  <a:pt x="22" y="9"/>
                  <a:pt x="23" y="10"/>
                </a:cubicBezTo>
                <a:cubicBezTo>
                  <a:pt x="24" y="11"/>
                  <a:pt x="31" y="13"/>
                  <a:pt x="32" y="1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4" name="Freeform 863"/>
          <p:cNvSpPr>
            <a:spLocks/>
          </p:cNvSpPr>
          <p:nvPr/>
        </p:nvSpPr>
        <p:spPr bwMode="auto">
          <a:xfrm>
            <a:off x="5332659" y="5415292"/>
            <a:ext cx="89785" cy="64500"/>
          </a:xfrm>
          <a:custGeom>
            <a:avLst/>
            <a:gdLst>
              <a:gd name="T0" fmla="*/ 14 w 15"/>
              <a:gd name="T1" fmla="*/ 1 h 13"/>
              <a:gd name="T2" fmla="*/ 13 w 15"/>
              <a:gd name="T3" fmla="*/ 8 h 13"/>
              <a:gd name="T4" fmla="*/ 11 w 15"/>
              <a:gd name="T5" fmla="*/ 12 h 13"/>
              <a:gd name="T6" fmla="*/ 7 w 15"/>
              <a:gd name="T7" fmla="*/ 11 h 13"/>
              <a:gd name="T8" fmla="*/ 2 w 15"/>
              <a:gd name="T9" fmla="*/ 9 h 13"/>
              <a:gd name="T10" fmla="*/ 2 w 15"/>
              <a:gd name="T11" fmla="*/ 3 h 13"/>
              <a:gd name="T12" fmla="*/ 9 w 15"/>
              <a:gd name="T13" fmla="*/ 3 h 13"/>
              <a:gd name="T14" fmla="*/ 14 w 15"/>
              <a:gd name="T15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3">
                <a:moveTo>
                  <a:pt x="14" y="1"/>
                </a:moveTo>
                <a:cubicBezTo>
                  <a:pt x="15" y="2"/>
                  <a:pt x="12" y="6"/>
                  <a:pt x="13" y="8"/>
                </a:cubicBezTo>
                <a:cubicBezTo>
                  <a:pt x="14" y="10"/>
                  <a:pt x="12" y="12"/>
                  <a:pt x="11" y="12"/>
                </a:cubicBezTo>
                <a:cubicBezTo>
                  <a:pt x="11" y="12"/>
                  <a:pt x="8" y="11"/>
                  <a:pt x="7" y="11"/>
                </a:cubicBezTo>
                <a:cubicBezTo>
                  <a:pt x="5" y="11"/>
                  <a:pt x="2" y="13"/>
                  <a:pt x="2" y="9"/>
                </a:cubicBezTo>
                <a:cubicBezTo>
                  <a:pt x="2" y="6"/>
                  <a:pt x="0" y="3"/>
                  <a:pt x="2" y="3"/>
                </a:cubicBezTo>
                <a:cubicBezTo>
                  <a:pt x="4" y="2"/>
                  <a:pt x="8" y="4"/>
                  <a:pt x="9" y="3"/>
                </a:cubicBezTo>
                <a:cubicBezTo>
                  <a:pt x="10" y="2"/>
                  <a:pt x="13" y="0"/>
                  <a:pt x="14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5" name="Freeform 800"/>
          <p:cNvSpPr>
            <a:spLocks/>
          </p:cNvSpPr>
          <p:nvPr/>
        </p:nvSpPr>
        <p:spPr bwMode="auto">
          <a:xfrm>
            <a:off x="3687668" y="2601515"/>
            <a:ext cx="1388461" cy="1158296"/>
          </a:xfrm>
          <a:custGeom>
            <a:avLst/>
            <a:gdLst>
              <a:gd name="T0" fmla="*/ 227 w 232"/>
              <a:gd name="T1" fmla="*/ 161 h 231"/>
              <a:gd name="T2" fmla="*/ 232 w 232"/>
              <a:gd name="T3" fmla="*/ 178 h 231"/>
              <a:gd name="T4" fmla="*/ 219 w 232"/>
              <a:gd name="T5" fmla="*/ 184 h 231"/>
              <a:gd name="T6" fmla="*/ 201 w 232"/>
              <a:gd name="T7" fmla="*/ 210 h 231"/>
              <a:gd name="T8" fmla="*/ 202 w 232"/>
              <a:gd name="T9" fmla="*/ 231 h 231"/>
              <a:gd name="T10" fmla="*/ 186 w 232"/>
              <a:gd name="T11" fmla="*/ 228 h 231"/>
              <a:gd name="T12" fmla="*/ 168 w 232"/>
              <a:gd name="T13" fmla="*/ 219 h 231"/>
              <a:gd name="T14" fmla="*/ 146 w 232"/>
              <a:gd name="T15" fmla="*/ 222 h 231"/>
              <a:gd name="T16" fmla="*/ 136 w 232"/>
              <a:gd name="T17" fmla="*/ 230 h 231"/>
              <a:gd name="T18" fmla="*/ 128 w 232"/>
              <a:gd name="T19" fmla="*/ 231 h 231"/>
              <a:gd name="T20" fmla="*/ 127 w 232"/>
              <a:gd name="T21" fmla="*/ 223 h 231"/>
              <a:gd name="T22" fmla="*/ 118 w 232"/>
              <a:gd name="T23" fmla="*/ 215 h 231"/>
              <a:gd name="T24" fmla="*/ 106 w 232"/>
              <a:gd name="T25" fmla="*/ 216 h 231"/>
              <a:gd name="T26" fmla="*/ 102 w 232"/>
              <a:gd name="T27" fmla="*/ 206 h 231"/>
              <a:gd name="T28" fmla="*/ 96 w 232"/>
              <a:gd name="T29" fmla="*/ 200 h 231"/>
              <a:gd name="T30" fmla="*/ 82 w 232"/>
              <a:gd name="T31" fmla="*/ 197 h 231"/>
              <a:gd name="T32" fmla="*/ 79 w 232"/>
              <a:gd name="T33" fmla="*/ 186 h 231"/>
              <a:gd name="T34" fmla="*/ 60 w 232"/>
              <a:gd name="T35" fmla="*/ 181 h 231"/>
              <a:gd name="T36" fmla="*/ 54 w 232"/>
              <a:gd name="T37" fmla="*/ 194 h 231"/>
              <a:gd name="T38" fmla="*/ 42 w 232"/>
              <a:gd name="T39" fmla="*/ 178 h 231"/>
              <a:gd name="T40" fmla="*/ 42 w 232"/>
              <a:gd name="T41" fmla="*/ 169 h 231"/>
              <a:gd name="T42" fmla="*/ 18 w 232"/>
              <a:gd name="T43" fmla="*/ 158 h 231"/>
              <a:gd name="T44" fmla="*/ 16 w 232"/>
              <a:gd name="T45" fmla="*/ 141 h 231"/>
              <a:gd name="T46" fmla="*/ 12 w 232"/>
              <a:gd name="T47" fmla="*/ 120 h 231"/>
              <a:gd name="T48" fmla="*/ 12 w 232"/>
              <a:gd name="T49" fmla="*/ 96 h 231"/>
              <a:gd name="T50" fmla="*/ 2 w 232"/>
              <a:gd name="T51" fmla="*/ 86 h 231"/>
              <a:gd name="T52" fmla="*/ 10 w 232"/>
              <a:gd name="T53" fmla="*/ 73 h 231"/>
              <a:gd name="T54" fmla="*/ 12 w 232"/>
              <a:gd name="T55" fmla="*/ 47 h 231"/>
              <a:gd name="T56" fmla="*/ 15 w 232"/>
              <a:gd name="T57" fmla="*/ 46 h 231"/>
              <a:gd name="T58" fmla="*/ 47 w 232"/>
              <a:gd name="T59" fmla="*/ 39 h 231"/>
              <a:gd name="T60" fmla="*/ 58 w 232"/>
              <a:gd name="T61" fmla="*/ 29 h 231"/>
              <a:gd name="T62" fmla="*/ 67 w 232"/>
              <a:gd name="T63" fmla="*/ 27 h 231"/>
              <a:gd name="T64" fmla="*/ 76 w 232"/>
              <a:gd name="T65" fmla="*/ 21 h 231"/>
              <a:gd name="T66" fmla="*/ 98 w 232"/>
              <a:gd name="T67" fmla="*/ 20 h 231"/>
              <a:gd name="T68" fmla="*/ 100 w 232"/>
              <a:gd name="T69" fmla="*/ 25 h 231"/>
              <a:gd name="T70" fmla="*/ 103 w 232"/>
              <a:gd name="T71" fmla="*/ 35 h 231"/>
              <a:gd name="T72" fmla="*/ 116 w 232"/>
              <a:gd name="T73" fmla="*/ 38 h 231"/>
              <a:gd name="T74" fmla="*/ 132 w 232"/>
              <a:gd name="T75" fmla="*/ 25 h 231"/>
              <a:gd name="T76" fmla="*/ 133 w 232"/>
              <a:gd name="T77" fmla="*/ 15 h 231"/>
              <a:gd name="T78" fmla="*/ 147 w 232"/>
              <a:gd name="T79" fmla="*/ 12 h 231"/>
              <a:gd name="T80" fmla="*/ 154 w 232"/>
              <a:gd name="T81" fmla="*/ 0 h 231"/>
              <a:gd name="T82" fmla="*/ 174 w 232"/>
              <a:gd name="T83" fmla="*/ 10 h 231"/>
              <a:gd name="T84" fmla="*/ 191 w 232"/>
              <a:gd name="T85" fmla="*/ 15 h 231"/>
              <a:gd name="T86" fmla="*/ 190 w 232"/>
              <a:gd name="T87" fmla="*/ 27 h 231"/>
              <a:gd name="T88" fmla="*/ 202 w 232"/>
              <a:gd name="T89" fmla="*/ 38 h 231"/>
              <a:gd name="T90" fmla="*/ 210 w 232"/>
              <a:gd name="T91" fmla="*/ 53 h 231"/>
              <a:gd name="T92" fmla="*/ 219 w 232"/>
              <a:gd name="T93" fmla="*/ 78 h 231"/>
              <a:gd name="T94" fmla="*/ 222 w 232"/>
              <a:gd name="T95" fmla="*/ 97 h 231"/>
              <a:gd name="T96" fmla="*/ 210 w 232"/>
              <a:gd name="T97" fmla="*/ 102 h 231"/>
              <a:gd name="T98" fmla="*/ 206 w 232"/>
              <a:gd name="T99" fmla="*/ 114 h 231"/>
              <a:gd name="T100" fmla="*/ 216 w 232"/>
              <a:gd name="T101" fmla="*/ 124 h 231"/>
              <a:gd name="T102" fmla="*/ 216 w 232"/>
              <a:gd name="T103" fmla="*/ 136 h 231"/>
              <a:gd name="T104" fmla="*/ 216 w 232"/>
              <a:gd name="T105" fmla="*/ 140 h 231"/>
              <a:gd name="T106" fmla="*/ 227 w 232"/>
              <a:gd name="T107" fmla="*/ 16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31">
                <a:moveTo>
                  <a:pt x="227" y="161"/>
                </a:moveTo>
                <a:cubicBezTo>
                  <a:pt x="230" y="165"/>
                  <a:pt x="232" y="174"/>
                  <a:pt x="232" y="178"/>
                </a:cubicBezTo>
                <a:cubicBezTo>
                  <a:pt x="231" y="182"/>
                  <a:pt x="223" y="182"/>
                  <a:pt x="219" y="184"/>
                </a:cubicBezTo>
                <a:cubicBezTo>
                  <a:pt x="215" y="186"/>
                  <a:pt x="205" y="203"/>
                  <a:pt x="201" y="210"/>
                </a:cubicBezTo>
                <a:cubicBezTo>
                  <a:pt x="197" y="217"/>
                  <a:pt x="202" y="227"/>
                  <a:pt x="202" y="231"/>
                </a:cubicBezTo>
                <a:cubicBezTo>
                  <a:pt x="186" y="228"/>
                  <a:pt x="186" y="228"/>
                  <a:pt x="186" y="228"/>
                </a:cubicBezTo>
                <a:cubicBezTo>
                  <a:pt x="184" y="226"/>
                  <a:pt x="172" y="219"/>
                  <a:pt x="168" y="219"/>
                </a:cubicBezTo>
                <a:cubicBezTo>
                  <a:pt x="164" y="219"/>
                  <a:pt x="149" y="221"/>
                  <a:pt x="146" y="222"/>
                </a:cubicBezTo>
                <a:cubicBezTo>
                  <a:pt x="142" y="223"/>
                  <a:pt x="136" y="230"/>
                  <a:pt x="136" y="230"/>
                </a:cubicBezTo>
                <a:cubicBezTo>
                  <a:pt x="136" y="230"/>
                  <a:pt x="130" y="231"/>
                  <a:pt x="128" y="231"/>
                </a:cubicBezTo>
                <a:cubicBezTo>
                  <a:pt x="127" y="231"/>
                  <a:pt x="127" y="227"/>
                  <a:pt x="127" y="223"/>
                </a:cubicBezTo>
                <a:cubicBezTo>
                  <a:pt x="127" y="220"/>
                  <a:pt x="121" y="216"/>
                  <a:pt x="118" y="215"/>
                </a:cubicBezTo>
                <a:cubicBezTo>
                  <a:pt x="115" y="215"/>
                  <a:pt x="110" y="215"/>
                  <a:pt x="106" y="216"/>
                </a:cubicBezTo>
                <a:cubicBezTo>
                  <a:pt x="102" y="206"/>
                  <a:pt x="102" y="206"/>
                  <a:pt x="102" y="206"/>
                </a:cubicBezTo>
                <a:cubicBezTo>
                  <a:pt x="102" y="206"/>
                  <a:pt x="102" y="203"/>
                  <a:pt x="96" y="200"/>
                </a:cubicBezTo>
                <a:cubicBezTo>
                  <a:pt x="91" y="197"/>
                  <a:pt x="84" y="200"/>
                  <a:pt x="82" y="197"/>
                </a:cubicBezTo>
                <a:cubicBezTo>
                  <a:pt x="79" y="194"/>
                  <a:pt x="81" y="187"/>
                  <a:pt x="79" y="186"/>
                </a:cubicBezTo>
                <a:cubicBezTo>
                  <a:pt x="77" y="185"/>
                  <a:pt x="62" y="180"/>
                  <a:pt x="60" y="181"/>
                </a:cubicBezTo>
                <a:cubicBezTo>
                  <a:pt x="59" y="183"/>
                  <a:pt x="54" y="194"/>
                  <a:pt x="54" y="194"/>
                </a:cubicBezTo>
                <a:cubicBezTo>
                  <a:pt x="52" y="195"/>
                  <a:pt x="43" y="180"/>
                  <a:pt x="42" y="178"/>
                </a:cubicBezTo>
                <a:cubicBezTo>
                  <a:pt x="40" y="176"/>
                  <a:pt x="50" y="172"/>
                  <a:pt x="42" y="169"/>
                </a:cubicBezTo>
                <a:cubicBezTo>
                  <a:pt x="34" y="166"/>
                  <a:pt x="20" y="161"/>
                  <a:pt x="18" y="158"/>
                </a:cubicBezTo>
                <a:cubicBezTo>
                  <a:pt x="14" y="155"/>
                  <a:pt x="18" y="145"/>
                  <a:pt x="16" y="141"/>
                </a:cubicBezTo>
                <a:cubicBezTo>
                  <a:pt x="16" y="138"/>
                  <a:pt x="12" y="127"/>
                  <a:pt x="12" y="120"/>
                </a:cubicBezTo>
                <a:cubicBezTo>
                  <a:pt x="12" y="113"/>
                  <a:pt x="16" y="100"/>
                  <a:pt x="12" y="96"/>
                </a:cubicBezTo>
                <a:cubicBezTo>
                  <a:pt x="7" y="92"/>
                  <a:pt x="0" y="89"/>
                  <a:pt x="2" y="86"/>
                </a:cubicBezTo>
                <a:cubicBezTo>
                  <a:pt x="4" y="82"/>
                  <a:pt x="10" y="78"/>
                  <a:pt x="10" y="73"/>
                </a:cubicBezTo>
                <a:cubicBezTo>
                  <a:pt x="10" y="69"/>
                  <a:pt x="11" y="56"/>
                  <a:pt x="12" y="47"/>
                </a:cubicBezTo>
                <a:cubicBezTo>
                  <a:pt x="13" y="46"/>
                  <a:pt x="14" y="46"/>
                  <a:pt x="15" y="46"/>
                </a:cubicBezTo>
                <a:cubicBezTo>
                  <a:pt x="19" y="46"/>
                  <a:pt x="44" y="39"/>
                  <a:pt x="47" y="39"/>
                </a:cubicBezTo>
                <a:cubicBezTo>
                  <a:pt x="50" y="39"/>
                  <a:pt x="55" y="29"/>
                  <a:pt x="58" y="29"/>
                </a:cubicBezTo>
                <a:cubicBezTo>
                  <a:pt x="62" y="28"/>
                  <a:pt x="65" y="28"/>
                  <a:pt x="67" y="27"/>
                </a:cubicBezTo>
                <a:cubicBezTo>
                  <a:pt x="69" y="27"/>
                  <a:pt x="73" y="21"/>
                  <a:pt x="76" y="21"/>
                </a:cubicBezTo>
                <a:cubicBezTo>
                  <a:pt x="79" y="21"/>
                  <a:pt x="94" y="18"/>
                  <a:pt x="98" y="20"/>
                </a:cubicBezTo>
                <a:cubicBezTo>
                  <a:pt x="101" y="21"/>
                  <a:pt x="100" y="22"/>
                  <a:pt x="100" y="25"/>
                </a:cubicBezTo>
                <a:cubicBezTo>
                  <a:pt x="101" y="27"/>
                  <a:pt x="101" y="34"/>
                  <a:pt x="103" y="35"/>
                </a:cubicBezTo>
                <a:cubicBezTo>
                  <a:pt x="105" y="35"/>
                  <a:pt x="112" y="39"/>
                  <a:pt x="116" y="38"/>
                </a:cubicBezTo>
                <a:cubicBezTo>
                  <a:pt x="120" y="37"/>
                  <a:pt x="132" y="28"/>
                  <a:pt x="132" y="25"/>
                </a:cubicBezTo>
                <a:cubicBezTo>
                  <a:pt x="133" y="23"/>
                  <a:pt x="130" y="16"/>
                  <a:pt x="133" y="15"/>
                </a:cubicBezTo>
                <a:cubicBezTo>
                  <a:pt x="136" y="14"/>
                  <a:pt x="142" y="17"/>
                  <a:pt x="147" y="12"/>
                </a:cubicBezTo>
                <a:cubicBezTo>
                  <a:pt x="150" y="9"/>
                  <a:pt x="153" y="4"/>
                  <a:pt x="154" y="0"/>
                </a:cubicBezTo>
                <a:cubicBezTo>
                  <a:pt x="162" y="4"/>
                  <a:pt x="170" y="8"/>
                  <a:pt x="174" y="10"/>
                </a:cubicBezTo>
                <a:cubicBezTo>
                  <a:pt x="181" y="14"/>
                  <a:pt x="188" y="11"/>
                  <a:pt x="191" y="15"/>
                </a:cubicBezTo>
                <a:cubicBezTo>
                  <a:pt x="194" y="19"/>
                  <a:pt x="190" y="25"/>
                  <a:pt x="190" y="27"/>
                </a:cubicBezTo>
                <a:cubicBezTo>
                  <a:pt x="190" y="30"/>
                  <a:pt x="194" y="36"/>
                  <a:pt x="202" y="38"/>
                </a:cubicBezTo>
                <a:cubicBezTo>
                  <a:pt x="210" y="41"/>
                  <a:pt x="210" y="47"/>
                  <a:pt x="210" y="53"/>
                </a:cubicBezTo>
                <a:cubicBezTo>
                  <a:pt x="210" y="58"/>
                  <a:pt x="216" y="71"/>
                  <a:pt x="219" y="78"/>
                </a:cubicBezTo>
                <a:cubicBezTo>
                  <a:pt x="222" y="84"/>
                  <a:pt x="223" y="94"/>
                  <a:pt x="222" y="97"/>
                </a:cubicBezTo>
                <a:cubicBezTo>
                  <a:pt x="221" y="99"/>
                  <a:pt x="214" y="99"/>
                  <a:pt x="210" y="102"/>
                </a:cubicBezTo>
                <a:cubicBezTo>
                  <a:pt x="204" y="106"/>
                  <a:pt x="202" y="112"/>
                  <a:pt x="206" y="114"/>
                </a:cubicBezTo>
                <a:cubicBezTo>
                  <a:pt x="211" y="116"/>
                  <a:pt x="216" y="124"/>
                  <a:pt x="216" y="124"/>
                </a:cubicBezTo>
                <a:cubicBezTo>
                  <a:pt x="216" y="124"/>
                  <a:pt x="216" y="130"/>
                  <a:pt x="216" y="136"/>
                </a:cubicBezTo>
                <a:cubicBezTo>
                  <a:pt x="216" y="137"/>
                  <a:pt x="216" y="139"/>
                  <a:pt x="216" y="140"/>
                </a:cubicBezTo>
                <a:cubicBezTo>
                  <a:pt x="216" y="147"/>
                  <a:pt x="224" y="156"/>
                  <a:pt x="227" y="161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6" name="Freeform 803"/>
          <p:cNvSpPr>
            <a:spLocks/>
          </p:cNvSpPr>
          <p:nvPr/>
        </p:nvSpPr>
        <p:spPr bwMode="auto">
          <a:xfrm>
            <a:off x="4027570" y="3681876"/>
            <a:ext cx="868990" cy="330559"/>
          </a:xfrm>
          <a:custGeom>
            <a:avLst/>
            <a:gdLst>
              <a:gd name="T0" fmla="*/ 129 w 145"/>
              <a:gd name="T1" fmla="*/ 13 h 66"/>
              <a:gd name="T2" fmla="*/ 145 w 145"/>
              <a:gd name="T3" fmla="*/ 16 h 66"/>
              <a:gd name="T4" fmla="*/ 133 w 145"/>
              <a:gd name="T5" fmla="*/ 33 h 66"/>
              <a:gd name="T6" fmla="*/ 129 w 145"/>
              <a:gd name="T7" fmla="*/ 42 h 66"/>
              <a:gd name="T8" fmla="*/ 123 w 145"/>
              <a:gd name="T9" fmla="*/ 44 h 66"/>
              <a:gd name="T10" fmla="*/ 113 w 145"/>
              <a:gd name="T11" fmla="*/ 38 h 66"/>
              <a:gd name="T12" fmla="*/ 91 w 145"/>
              <a:gd name="T13" fmla="*/ 37 h 66"/>
              <a:gd name="T14" fmla="*/ 79 w 145"/>
              <a:gd name="T15" fmla="*/ 49 h 66"/>
              <a:gd name="T16" fmla="*/ 53 w 145"/>
              <a:gd name="T17" fmla="*/ 54 h 66"/>
              <a:gd name="T18" fmla="*/ 45 w 145"/>
              <a:gd name="T19" fmla="*/ 65 h 66"/>
              <a:gd name="T20" fmla="*/ 25 w 145"/>
              <a:gd name="T21" fmla="*/ 66 h 66"/>
              <a:gd name="T22" fmla="*/ 15 w 145"/>
              <a:gd name="T23" fmla="*/ 60 h 66"/>
              <a:gd name="T24" fmla="*/ 4 w 145"/>
              <a:gd name="T25" fmla="*/ 58 h 66"/>
              <a:gd name="T26" fmla="*/ 0 w 145"/>
              <a:gd name="T27" fmla="*/ 33 h 66"/>
              <a:gd name="T28" fmla="*/ 0 w 145"/>
              <a:gd name="T29" fmla="*/ 29 h 66"/>
              <a:gd name="T30" fmla="*/ 20 w 145"/>
              <a:gd name="T31" fmla="*/ 24 h 66"/>
              <a:gd name="T32" fmla="*/ 43 w 145"/>
              <a:gd name="T33" fmla="*/ 2 h 66"/>
              <a:gd name="T34" fmla="*/ 49 w 145"/>
              <a:gd name="T35" fmla="*/ 1 h 66"/>
              <a:gd name="T36" fmla="*/ 61 w 145"/>
              <a:gd name="T37" fmla="*/ 0 h 66"/>
              <a:gd name="T38" fmla="*/ 70 w 145"/>
              <a:gd name="T39" fmla="*/ 8 h 66"/>
              <a:gd name="T40" fmla="*/ 71 w 145"/>
              <a:gd name="T41" fmla="*/ 16 h 66"/>
              <a:gd name="T42" fmla="*/ 79 w 145"/>
              <a:gd name="T43" fmla="*/ 15 h 66"/>
              <a:gd name="T44" fmla="*/ 89 w 145"/>
              <a:gd name="T45" fmla="*/ 7 h 66"/>
              <a:gd name="T46" fmla="*/ 111 w 145"/>
              <a:gd name="T47" fmla="*/ 4 h 66"/>
              <a:gd name="T48" fmla="*/ 129 w 145"/>
              <a:gd name="T49" fmla="*/ 1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5" h="66">
                <a:moveTo>
                  <a:pt x="129" y="13"/>
                </a:moveTo>
                <a:cubicBezTo>
                  <a:pt x="145" y="16"/>
                  <a:pt x="145" y="16"/>
                  <a:pt x="145" y="16"/>
                </a:cubicBezTo>
                <a:cubicBezTo>
                  <a:pt x="145" y="20"/>
                  <a:pt x="135" y="27"/>
                  <a:pt x="133" y="33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42"/>
                  <a:pt x="125" y="43"/>
                  <a:pt x="123" y="44"/>
                </a:cubicBezTo>
                <a:cubicBezTo>
                  <a:pt x="120" y="46"/>
                  <a:pt x="117" y="41"/>
                  <a:pt x="113" y="38"/>
                </a:cubicBezTo>
                <a:cubicBezTo>
                  <a:pt x="110" y="36"/>
                  <a:pt x="94" y="36"/>
                  <a:pt x="91" y="37"/>
                </a:cubicBezTo>
                <a:cubicBezTo>
                  <a:pt x="87" y="37"/>
                  <a:pt x="80" y="48"/>
                  <a:pt x="79" y="49"/>
                </a:cubicBezTo>
                <a:cubicBezTo>
                  <a:pt x="78" y="51"/>
                  <a:pt x="58" y="53"/>
                  <a:pt x="53" y="54"/>
                </a:cubicBezTo>
                <a:cubicBezTo>
                  <a:pt x="48" y="54"/>
                  <a:pt x="45" y="65"/>
                  <a:pt x="45" y="65"/>
                </a:cubicBezTo>
                <a:cubicBezTo>
                  <a:pt x="45" y="65"/>
                  <a:pt x="30" y="66"/>
                  <a:pt x="25" y="66"/>
                </a:cubicBezTo>
                <a:cubicBezTo>
                  <a:pt x="19" y="66"/>
                  <a:pt x="17" y="60"/>
                  <a:pt x="15" y="60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52"/>
                  <a:pt x="0" y="35"/>
                  <a:pt x="0" y="33"/>
                </a:cubicBezTo>
                <a:cubicBezTo>
                  <a:pt x="0" y="29"/>
                  <a:pt x="0" y="29"/>
                  <a:pt x="0" y="29"/>
                </a:cubicBezTo>
                <a:cubicBezTo>
                  <a:pt x="5" y="29"/>
                  <a:pt x="18" y="27"/>
                  <a:pt x="20" y="24"/>
                </a:cubicBezTo>
                <a:cubicBezTo>
                  <a:pt x="23" y="22"/>
                  <a:pt x="39" y="3"/>
                  <a:pt x="43" y="2"/>
                </a:cubicBezTo>
                <a:cubicBezTo>
                  <a:pt x="44" y="1"/>
                  <a:pt x="46" y="1"/>
                  <a:pt x="49" y="1"/>
                </a:cubicBezTo>
                <a:cubicBezTo>
                  <a:pt x="53" y="0"/>
                  <a:pt x="58" y="0"/>
                  <a:pt x="61" y="0"/>
                </a:cubicBezTo>
                <a:cubicBezTo>
                  <a:pt x="64" y="1"/>
                  <a:pt x="70" y="5"/>
                  <a:pt x="70" y="8"/>
                </a:cubicBezTo>
                <a:cubicBezTo>
                  <a:pt x="70" y="12"/>
                  <a:pt x="70" y="16"/>
                  <a:pt x="71" y="16"/>
                </a:cubicBezTo>
                <a:cubicBezTo>
                  <a:pt x="73" y="16"/>
                  <a:pt x="79" y="15"/>
                  <a:pt x="79" y="15"/>
                </a:cubicBezTo>
                <a:cubicBezTo>
                  <a:pt x="79" y="15"/>
                  <a:pt x="85" y="8"/>
                  <a:pt x="89" y="7"/>
                </a:cubicBezTo>
                <a:cubicBezTo>
                  <a:pt x="92" y="6"/>
                  <a:pt x="107" y="4"/>
                  <a:pt x="111" y="4"/>
                </a:cubicBezTo>
                <a:cubicBezTo>
                  <a:pt x="115" y="4"/>
                  <a:pt x="127" y="11"/>
                  <a:pt x="129" y="13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7" name="Freeform 808"/>
          <p:cNvSpPr>
            <a:spLocks/>
          </p:cNvSpPr>
          <p:nvPr/>
        </p:nvSpPr>
        <p:spPr bwMode="auto">
          <a:xfrm>
            <a:off x="3908925" y="3861936"/>
            <a:ext cx="1016494" cy="521369"/>
          </a:xfrm>
          <a:custGeom>
            <a:avLst/>
            <a:gdLst>
              <a:gd name="T0" fmla="*/ 152 w 170"/>
              <a:gd name="T1" fmla="*/ 7 h 104"/>
              <a:gd name="T2" fmla="*/ 170 w 170"/>
              <a:gd name="T3" fmla="*/ 19 h 104"/>
              <a:gd name="T4" fmla="*/ 164 w 170"/>
              <a:gd name="T5" fmla="*/ 27 h 104"/>
              <a:gd name="T6" fmla="*/ 148 w 170"/>
              <a:gd name="T7" fmla="*/ 42 h 104"/>
              <a:gd name="T8" fmla="*/ 130 w 170"/>
              <a:gd name="T9" fmla="*/ 83 h 104"/>
              <a:gd name="T10" fmla="*/ 116 w 170"/>
              <a:gd name="T11" fmla="*/ 87 h 104"/>
              <a:gd name="T12" fmla="*/ 106 w 170"/>
              <a:gd name="T13" fmla="*/ 95 h 104"/>
              <a:gd name="T14" fmla="*/ 105 w 170"/>
              <a:gd name="T15" fmla="*/ 95 h 104"/>
              <a:gd name="T16" fmla="*/ 101 w 170"/>
              <a:gd name="T17" fmla="*/ 91 h 104"/>
              <a:gd name="T18" fmla="*/ 73 w 170"/>
              <a:gd name="T19" fmla="*/ 99 h 104"/>
              <a:gd name="T20" fmla="*/ 67 w 170"/>
              <a:gd name="T21" fmla="*/ 99 h 104"/>
              <a:gd name="T22" fmla="*/ 42 w 170"/>
              <a:gd name="T23" fmla="*/ 101 h 104"/>
              <a:gd name="T24" fmla="*/ 15 w 170"/>
              <a:gd name="T25" fmla="*/ 81 h 104"/>
              <a:gd name="T26" fmla="*/ 6 w 170"/>
              <a:gd name="T27" fmla="*/ 73 h 104"/>
              <a:gd name="T28" fmla="*/ 2 w 170"/>
              <a:gd name="T29" fmla="*/ 61 h 104"/>
              <a:gd name="T30" fmla="*/ 13 w 170"/>
              <a:gd name="T31" fmla="*/ 37 h 104"/>
              <a:gd name="T32" fmla="*/ 24 w 170"/>
              <a:gd name="T33" fmla="*/ 22 h 104"/>
              <a:gd name="T34" fmla="*/ 35 w 170"/>
              <a:gd name="T35" fmla="*/ 24 h 104"/>
              <a:gd name="T36" fmla="*/ 45 w 170"/>
              <a:gd name="T37" fmla="*/ 30 h 104"/>
              <a:gd name="T38" fmla="*/ 65 w 170"/>
              <a:gd name="T39" fmla="*/ 29 h 104"/>
              <a:gd name="T40" fmla="*/ 73 w 170"/>
              <a:gd name="T41" fmla="*/ 18 h 104"/>
              <a:gd name="T42" fmla="*/ 99 w 170"/>
              <a:gd name="T43" fmla="*/ 13 h 104"/>
              <a:gd name="T44" fmla="*/ 111 w 170"/>
              <a:gd name="T45" fmla="*/ 1 h 104"/>
              <a:gd name="T46" fmla="*/ 133 w 170"/>
              <a:gd name="T47" fmla="*/ 2 h 104"/>
              <a:gd name="T48" fmla="*/ 143 w 170"/>
              <a:gd name="T49" fmla="*/ 8 h 104"/>
              <a:gd name="T50" fmla="*/ 149 w 170"/>
              <a:gd name="T51" fmla="*/ 6 h 104"/>
              <a:gd name="T52" fmla="*/ 152 w 170"/>
              <a:gd name="T53" fmla="*/ 7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0" h="104">
                <a:moveTo>
                  <a:pt x="152" y="7"/>
                </a:moveTo>
                <a:cubicBezTo>
                  <a:pt x="154" y="10"/>
                  <a:pt x="163" y="19"/>
                  <a:pt x="170" y="19"/>
                </a:cubicBezTo>
                <a:cubicBezTo>
                  <a:pt x="164" y="27"/>
                  <a:pt x="164" y="27"/>
                  <a:pt x="164" y="27"/>
                </a:cubicBezTo>
                <a:cubicBezTo>
                  <a:pt x="164" y="27"/>
                  <a:pt x="155" y="36"/>
                  <a:pt x="148" y="42"/>
                </a:cubicBezTo>
                <a:cubicBezTo>
                  <a:pt x="141" y="49"/>
                  <a:pt x="131" y="78"/>
                  <a:pt x="130" y="83"/>
                </a:cubicBezTo>
                <a:cubicBezTo>
                  <a:pt x="129" y="88"/>
                  <a:pt x="119" y="84"/>
                  <a:pt x="116" y="87"/>
                </a:cubicBezTo>
                <a:cubicBezTo>
                  <a:pt x="106" y="95"/>
                  <a:pt x="106" y="95"/>
                  <a:pt x="106" y="95"/>
                </a:cubicBezTo>
                <a:cubicBezTo>
                  <a:pt x="105" y="95"/>
                  <a:pt x="105" y="95"/>
                  <a:pt x="105" y="95"/>
                </a:cubicBezTo>
                <a:cubicBezTo>
                  <a:pt x="104" y="93"/>
                  <a:pt x="102" y="92"/>
                  <a:pt x="101" y="91"/>
                </a:cubicBezTo>
                <a:cubicBezTo>
                  <a:pt x="97" y="90"/>
                  <a:pt x="79" y="99"/>
                  <a:pt x="73" y="99"/>
                </a:cubicBezTo>
                <a:cubicBezTo>
                  <a:pt x="72" y="99"/>
                  <a:pt x="70" y="99"/>
                  <a:pt x="67" y="99"/>
                </a:cubicBezTo>
                <a:cubicBezTo>
                  <a:pt x="59" y="101"/>
                  <a:pt x="46" y="104"/>
                  <a:pt x="42" y="101"/>
                </a:cubicBezTo>
                <a:cubicBezTo>
                  <a:pt x="37" y="96"/>
                  <a:pt x="20" y="87"/>
                  <a:pt x="15" y="81"/>
                </a:cubicBezTo>
                <a:cubicBezTo>
                  <a:pt x="12" y="79"/>
                  <a:pt x="9" y="76"/>
                  <a:pt x="6" y="73"/>
                </a:cubicBezTo>
                <a:cubicBezTo>
                  <a:pt x="2" y="69"/>
                  <a:pt x="0" y="65"/>
                  <a:pt x="2" y="61"/>
                </a:cubicBezTo>
                <a:cubicBezTo>
                  <a:pt x="4" y="53"/>
                  <a:pt x="9" y="43"/>
                  <a:pt x="13" y="37"/>
                </a:cubicBezTo>
                <a:cubicBezTo>
                  <a:pt x="17" y="32"/>
                  <a:pt x="24" y="28"/>
                  <a:pt x="24" y="22"/>
                </a:cubicBezTo>
                <a:cubicBezTo>
                  <a:pt x="35" y="24"/>
                  <a:pt x="35" y="24"/>
                  <a:pt x="35" y="24"/>
                </a:cubicBezTo>
                <a:cubicBezTo>
                  <a:pt x="37" y="24"/>
                  <a:pt x="39" y="30"/>
                  <a:pt x="45" y="30"/>
                </a:cubicBezTo>
                <a:cubicBezTo>
                  <a:pt x="50" y="30"/>
                  <a:pt x="65" y="29"/>
                  <a:pt x="65" y="29"/>
                </a:cubicBezTo>
                <a:cubicBezTo>
                  <a:pt x="65" y="29"/>
                  <a:pt x="68" y="18"/>
                  <a:pt x="73" y="18"/>
                </a:cubicBezTo>
                <a:cubicBezTo>
                  <a:pt x="78" y="17"/>
                  <a:pt x="98" y="15"/>
                  <a:pt x="99" y="13"/>
                </a:cubicBezTo>
                <a:cubicBezTo>
                  <a:pt x="100" y="12"/>
                  <a:pt x="107" y="1"/>
                  <a:pt x="111" y="1"/>
                </a:cubicBezTo>
                <a:cubicBezTo>
                  <a:pt x="114" y="0"/>
                  <a:pt x="130" y="0"/>
                  <a:pt x="133" y="2"/>
                </a:cubicBezTo>
                <a:cubicBezTo>
                  <a:pt x="137" y="5"/>
                  <a:pt x="140" y="10"/>
                  <a:pt x="143" y="8"/>
                </a:cubicBezTo>
                <a:cubicBezTo>
                  <a:pt x="145" y="7"/>
                  <a:pt x="147" y="6"/>
                  <a:pt x="149" y="6"/>
                </a:cubicBezTo>
                <a:cubicBezTo>
                  <a:pt x="150" y="6"/>
                  <a:pt x="151" y="6"/>
                  <a:pt x="152" y="7"/>
                </a:cubicBez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8" name="Freeform 819"/>
          <p:cNvSpPr>
            <a:spLocks/>
          </p:cNvSpPr>
          <p:nvPr/>
        </p:nvSpPr>
        <p:spPr bwMode="auto">
          <a:xfrm>
            <a:off x="3370215" y="3386255"/>
            <a:ext cx="952361" cy="459557"/>
          </a:xfrm>
          <a:custGeom>
            <a:avLst/>
            <a:gdLst>
              <a:gd name="T0" fmla="*/ 155 w 159"/>
              <a:gd name="T1" fmla="*/ 50 h 92"/>
              <a:gd name="T2" fmla="*/ 159 w 159"/>
              <a:gd name="T3" fmla="*/ 60 h 92"/>
              <a:gd name="T4" fmla="*/ 153 w 159"/>
              <a:gd name="T5" fmla="*/ 61 h 92"/>
              <a:gd name="T6" fmla="*/ 130 w 159"/>
              <a:gd name="T7" fmla="*/ 83 h 92"/>
              <a:gd name="T8" fmla="*/ 110 w 159"/>
              <a:gd name="T9" fmla="*/ 88 h 92"/>
              <a:gd name="T10" fmla="*/ 110 w 159"/>
              <a:gd name="T11" fmla="*/ 88 h 92"/>
              <a:gd name="T12" fmla="*/ 67 w 159"/>
              <a:gd name="T13" fmla="*/ 76 h 92"/>
              <a:gd name="T14" fmla="*/ 54 w 159"/>
              <a:gd name="T15" fmla="*/ 90 h 92"/>
              <a:gd name="T16" fmla="*/ 37 w 159"/>
              <a:gd name="T17" fmla="*/ 85 h 92"/>
              <a:gd name="T18" fmla="*/ 28 w 159"/>
              <a:gd name="T19" fmla="*/ 74 h 92"/>
              <a:gd name="T20" fmla="*/ 18 w 159"/>
              <a:gd name="T21" fmla="*/ 64 h 92"/>
              <a:gd name="T22" fmla="*/ 6 w 159"/>
              <a:gd name="T23" fmla="*/ 50 h 92"/>
              <a:gd name="T24" fmla="*/ 8 w 159"/>
              <a:gd name="T25" fmla="*/ 37 h 92"/>
              <a:gd name="T26" fmla="*/ 0 w 159"/>
              <a:gd name="T27" fmla="*/ 26 h 92"/>
              <a:gd name="T28" fmla="*/ 9 w 159"/>
              <a:gd name="T29" fmla="*/ 20 h 92"/>
              <a:gd name="T30" fmla="*/ 33 w 159"/>
              <a:gd name="T31" fmla="*/ 12 h 92"/>
              <a:gd name="T32" fmla="*/ 52 w 159"/>
              <a:gd name="T33" fmla="*/ 0 h 92"/>
              <a:gd name="T34" fmla="*/ 64 w 159"/>
              <a:gd name="T35" fmla="*/ 10 h 92"/>
              <a:gd name="T36" fmla="*/ 71 w 159"/>
              <a:gd name="T37" fmla="*/ 2 h 92"/>
              <a:gd name="T38" fmla="*/ 95 w 159"/>
              <a:gd name="T39" fmla="*/ 13 h 92"/>
              <a:gd name="T40" fmla="*/ 95 w 159"/>
              <a:gd name="T41" fmla="*/ 22 h 92"/>
              <a:gd name="T42" fmla="*/ 107 w 159"/>
              <a:gd name="T43" fmla="*/ 38 h 92"/>
              <a:gd name="T44" fmla="*/ 113 w 159"/>
              <a:gd name="T45" fmla="*/ 25 h 92"/>
              <a:gd name="T46" fmla="*/ 132 w 159"/>
              <a:gd name="T47" fmla="*/ 30 h 92"/>
              <a:gd name="T48" fmla="*/ 135 w 159"/>
              <a:gd name="T49" fmla="*/ 41 h 92"/>
              <a:gd name="T50" fmla="*/ 149 w 159"/>
              <a:gd name="T51" fmla="*/ 44 h 92"/>
              <a:gd name="T52" fmla="*/ 155 w 159"/>
              <a:gd name="T53" fmla="*/ 5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9" h="92">
                <a:moveTo>
                  <a:pt x="155" y="50"/>
                </a:moveTo>
                <a:cubicBezTo>
                  <a:pt x="159" y="60"/>
                  <a:pt x="159" y="60"/>
                  <a:pt x="159" y="60"/>
                </a:cubicBezTo>
                <a:cubicBezTo>
                  <a:pt x="156" y="60"/>
                  <a:pt x="154" y="60"/>
                  <a:pt x="153" y="61"/>
                </a:cubicBezTo>
                <a:cubicBezTo>
                  <a:pt x="149" y="62"/>
                  <a:pt x="133" y="81"/>
                  <a:pt x="130" y="83"/>
                </a:cubicBezTo>
                <a:cubicBezTo>
                  <a:pt x="128" y="86"/>
                  <a:pt x="115" y="88"/>
                  <a:pt x="110" y="88"/>
                </a:cubicBezTo>
                <a:cubicBezTo>
                  <a:pt x="110" y="88"/>
                  <a:pt x="110" y="88"/>
                  <a:pt x="110" y="88"/>
                </a:cubicBezTo>
                <a:cubicBezTo>
                  <a:pt x="105" y="88"/>
                  <a:pt x="70" y="76"/>
                  <a:pt x="67" y="76"/>
                </a:cubicBezTo>
                <a:cubicBezTo>
                  <a:pt x="64" y="77"/>
                  <a:pt x="59" y="89"/>
                  <a:pt x="54" y="90"/>
                </a:cubicBezTo>
                <a:cubicBezTo>
                  <a:pt x="49" y="92"/>
                  <a:pt x="39" y="84"/>
                  <a:pt x="37" y="85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1" y="66"/>
                  <a:pt x="18" y="64"/>
                </a:cubicBezTo>
                <a:cubicBezTo>
                  <a:pt x="16" y="62"/>
                  <a:pt x="9" y="56"/>
                  <a:pt x="6" y="50"/>
                </a:cubicBezTo>
                <a:cubicBezTo>
                  <a:pt x="2" y="45"/>
                  <a:pt x="10" y="41"/>
                  <a:pt x="8" y="37"/>
                </a:cubicBezTo>
                <a:cubicBezTo>
                  <a:pt x="6" y="33"/>
                  <a:pt x="0" y="30"/>
                  <a:pt x="0" y="26"/>
                </a:cubicBezTo>
                <a:cubicBezTo>
                  <a:pt x="0" y="23"/>
                  <a:pt x="4" y="20"/>
                  <a:pt x="9" y="20"/>
                </a:cubicBezTo>
                <a:cubicBezTo>
                  <a:pt x="14" y="19"/>
                  <a:pt x="30" y="12"/>
                  <a:pt x="33" y="12"/>
                </a:cubicBezTo>
                <a:cubicBezTo>
                  <a:pt x="36" y="11"/>
                  <a:pt x="49" y="1"/>
                  <a:pt x="52" y="0"/>
                </a:cubicBezTo>
                <a:cubicBezTo>
                  <a:pt x="56" y="0"/>
                  <a:pt x="60" y="12"/>
                  <a:pt x="64" y="10"/>
                </a:cubicBezTo>
                <a:cubicBezTo>
                  <a:pt x="71" y="2"/>
                  <a:pt x="71" y="2"/>
                  <a:pt x="71" y="2"/>
                </a:cubicBezTo>
                <a:cubicBezTo>
                  <a:pt x="73" y="5"/>
                  <a:pt x="87" y="10"/>
                  <a:pt x="95" y="13"/>
                </a:cubicBezTo>
                <a:cubicBezTo>
                  <a:pt x="103" y="16"/>
                  <a:pt x="93" y="20"/>
                  <a:pt x="95" y="22"/>
                </a:cubicBezTo>
                <a:cubicBezTo>
                  <a:pt x="96" y="24"/>
                  <a:pt x="105" y="39"/>
                  <a:pt x="107" y="38"/>
                </a:cubicBezTo>
                <a:cubicBezTo>
                  <a:pt x="107" y="38"/>
                  <a:pt x="112" y="27"/>
                  <a:pt x="113" y="25"/>
                </a:cubicBezTo>
                <a:cubicBezTo>
                  <a:pt x="115" y="24"/>
                  <a:pt x="130" y="29"/>
                  <a:pt x="132" y="30"/>
                </a:cubicBezTo>
                <a:cubicBezTo>
                  <a:pt x="134" y="31"/>
                  <a:pt x="132" y="38"/>
                  <a:pt x="135" y="41"/>
                </a:cubicBezTo>
                <a:cubicBezTo>
                  <a:pt x="137" y="44"/>
                  <a:pt x="144" y="41"/>
                  <a:pt x="149" y="44"/>
                </a:cubicBezTo>
                <a:cubicBezTo>
                  <a:pt x="155" y="47"/>
                  <a:pt x="155" y="50"/>
                  <a:pt x="155" y="5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59" name="Freeform 815"/>
          <p:cNvSpPr>
            <a:spLocks/>
          </p:cNvSpPr>
          <p:nvPr/>
        </p:nvSpPr>
        <p:spPr bwMode="auto">
          <a:xfrm>
            <a:off x="3790282" y="4463930"/>
            <a:ext cx="631701" cy="545555"/>
          </a:xfrm>
          <a:custGeom>
            <a:avLst/>
            <a:gdLst>
              <a:gd name="T0" fmla="*/ 90 w 106"/>
              <a:gd name="T1" fmla="*/ 16 h 109"/>
              <a:gd name="T2" fmla="*/ 97 w 106"/>
              <a:gd name="T3" fmla="*/ 17 h 109"/>
              <a:gd name="T4" fmla="*/ 92 w 106"/>
              <a:gd name="T5" fmla="*/ 37 h 109"/>
              <a:gd name="T6" fmla="*/ 104 w 106"/>
              <a:gd name="T7" fmla="*/ 48 h 109"/>
              <a:gd name="T8" fmla="*/ 102 w 106"/>
              <a:gd name="T9" fmla="*/ 63 h 109"/>
              <a:gd name="T10" fmla="*/ 98 w 106"/>
              <a:gd name="T11" fmla="*/ 68 h 109"/>
              <a:gd name="T12" fmla="*/ 83 w 106"/>
              <a:gd name="T13" fmla="*/ 75 h 109"/>
              <a:gd name="T14" fmla="*/ 76 w 106"/>
              <a:gd name="T15" fmla="*/ 90 h 109"/>
              <a:gd name="T16" fmla="*/ 76 w 106"/>
              <a:gd name="T17" fmla="*/ 109 h 109"/>
              <a:gd name="T18" fmla="*/ 68 w 106"/>
              <a:gd name="T19" fmla="*/ 103 h 109"/>
              <a:gd name="T20" fmla="*/ 51 w 106"/>
              <a:gd name="T21" fmla="*/ 93 h 109"/>
              <a:gd name="T22" fmla="*/ 48 w 106"/>
              <a:gd name="T23" fmla="*/ 91 h 109"/>
              <a:gd name="T24" fmla="*/ 55 w 106"/>
              <a:gd name="T25" fmla="*/ 81 h 109"/>
              <a:gd name="T26" fmla="*/ 46 w 106"/>
              <a:gd name="T27" fmla="*/ 68 h 109"/>
              <a:gd name="T28" fmla="*/ 20 w 106"/>
              <a:gd name="T29" fmla="*/ 44 h 109"/>
              <a:gd name="T30" fmla="*/ 6 w 106"/>
              <a:gd name="T31" fmla="*/ 19 h 109"/>
              <a:gd name="T32" fmla="*/ 8 w 106"/>
              <a:gd name="T33" fmla="*/ 3 h 109"/>
              <a:gd name="T34" fmla="*/ 22 w 106"/>
              <a:gd name="T35" fmla="*/ 11 h 109"/>
              <a:gd name="T36" fmla="*/ 35 w 106"/>
              <a:gd name="T37" fmla="*/ 3 h 109"/>
              <a:gd name="T38" fmla="*/ 59 w 106"/>
              <a:gd name="T39" fmla="*/ 9 h 109"/>
              <a:gd name="T40" fmla="*/ 80 w 106"/>
              <a:gd name="T41" fmla="*/ 13 h 109"/>
              <a:gd name="T42" fmla="*/ 90 w 106"/>
              <a:gd name="T43" fmla="*/ 16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6" h="109">
                <a:moveTo>
                  <a:pt x="90" y="16"/>
                </a:moveTo>
                <a:cubicBezTo>
                  <a:pt x="93" y="17"/>
                  <a:pt x="95" y="17"/>
                  <a:pt x="97" y="17"/>
                </a:cubicBezTo>
                <a:cubicBezTo>
                  <a:pt x="101" y="19"/>
                  <a:pt x="89" y="35"/>
                  <a:pt x="92" y="37"/>
                </a:cubicBezTo>
                <a:cubicBezTo>
                  <a:pt x="94" y="40"/>
                  <a:pt x="104" y="45"/>
                  <a:pt x="104" y="48"/>
                </a:cubicBezTo>
                <a:cubicBezTo>
                  <a:pt x="105" y="51"/>
                  <a:pt x="106" y="63"/>
                  <a:pt x="102" y="63"/>
                </a:cubicBezTo>
                <a:cubicBezTo>
                  <a:pt x="100" y="63"/>
                  <a:pt x="96" y="64"/>
                  <a:pt x="98" y="68"/>
                </a:cubicBezTo>
                <a:cubicBezTo>
                  <a:pt x="83" y="75"/>
                  <a:pt x="83" y="75"/>
                  <a:pt x="83" y="75"/>
                </a:cubicBezTo>
                <a:cubicBezTo>
                  <a:pt x="79" y="79"/>
                  <a:pt x="76" y="82"/>
                  <a:pt x="76" y="90"/>
                </a:cubicBezTo>
                <a:cubicBezTo>
                  <a:pt x="76" y="94"/>
                  <a:pt x="77" y="102"/>
                  <a:pt x="76" y="109"/>
                </a:cubicBezTo>
                <a:cubicBezTo>
                  <a:pt x="73" y="107"/>
                  <a:pt x="70" y="105"/>
                  <a:pt x="68" y="103"/>
                </a:cubicBezTo>
                <a:cubicBezTo>
                  <a:pt x="65" y="101"/>
                  <a:pt x="57" y="96"/>
                  <a:pt x="51" y="93"/>
                </a:cubicBezTo>
                <a:cubicBezTo>
                  <a:pt x="50" y="92"/>
                  <a:pt x="49" y="92"/>
                  <a:pt x="48" y="91"/>
                </a:cubicBezTo>
                <a:cubicBezTo>
                  <a:pt x="51" y="88"/>
                  <a:pt x="55" y="83"/>
                  <a:pt x="55" y="81"/>
                </a:cubicBezTo>
                <a:cubicBezTo>
                  <a:pt x="55" y="78"/>
                  <a:pt x="52" y="73"/>
                  <a:pt x="46" y="68"/>
                </a:cubicBezTo>
                <a:cubicBezTo>
                  <a:pt x="40" y="63"/>
                  <a:pt x="25" y="52"/>
                  <a:pt x="20" y="44"/>
                </a:cubicBezTo>
                <a:cubicBezTo>
                  <a:pt x="16" y="36"/>
                  <a:pt x="7" y="25"/>
                  <a:pt x="6" y="19"/>
                </a:cubicBezTo>
                <a:cubicBezTo>
                  <a:pt x="6" y="12"/>
                  <a:pt x="0" y="5"/>
                  <a:pt x="8" y="3"/>
                </a:cubicBezTo>
                <a:cubicBezTo>
                  <a:pt x="15" y="0"/>
                  <a:pt x="21" y="13"/>
                  <a:pt x="22" y="11"/>
                </a:cubicBezTo>
                <a:cubicBezTo>
                  <a:pt x="24" y="9"/>
                  <a:pt x="28" y="3"/>
                  <a:pt x="35" y="3"/>
                </a:cubicBezTo>
                <a:cubicBezTo>
                  <a:pt x="42" y="3"/>
                  <a:pt x="52" y="9"/>
                  <a:pt x="59" y="9"/>
                </a:cubicBezTo>
                <a:cubicBezTo>
                  <a:pt x="66" y="9"/>
                  <a:pt x="75" y="8"/>
                  <a:pt x="80" y="13"/>
                </a:cubicBezTo>
                <a:cubicBezTo>
                  <a:pt x="83" y="15"/>
                  <a:pt x="87" y="16"/>
                  <a:pt x="90" y="16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60" name="Freeform 794"/>
          <p:cNvSpPr>
            <a:spLocks/>
          </p:cNvSpPr>
          <p:nvPr/>
        </p:nvSpPr>
        <p:spPr bwMode="auto">
          <a:xfrm>
            <a:off x="4543834" y="3869999"/>
            <a:ext cx="1471831" cy="894926"/>
          </a:xfrm>
          <a:custGeom>
            <a:avLst/>
            <a:gdLst>
              <a:gd name="T0" fmla="*/ 242 w 246"/>
              <a:gd name="T1" fmla="*/ 102 h 178"/>
              <a:gd name="T2" fmla="*/ 244 w 246"/>
              <a:gd name="T3" fmla="*/ 122 h 178"/>
              <a:gd name="T4" fmla="*/ 230 w 246"/>
              <a:gd name="T5" fmla="*/ 128 h 178"/>
              <a:gd name="T6" fmla="*/ 219 w 246"/>
              <a:gd name="T7" fmla="*/ 143 h 178"/>
              <a:gd name="T8" fmla="*/ 222 w 246"/>
              <a:gd name="T9" fmla="*/ 165 h 178"/>
              <a:gd name="T10" fmla="*/ 217 w 246"/>
              <a:gd name="T11" fmla="*/ 165 h 178"/>
              <a:gd name="T12" fmla="*/ 179 w 246"/>
              <a:gd name="T13" fmla="*/ 153 h 178"/>
              <a:gd name="T14" fmla="*/ 158 w 246"/>
              <a:gd name="T15" fmla="*/ 160 h 178"/>
              <a:gd name="T16" fmla="*/ 133 w 246"/>
              <a:gd name="T17" fmla="*/ 176 h 178"/>
              <a:gd name="T18" fmla="*/ 101 w 246"/>
              <a:gd name="T19" fmla="*/ 178 h 178"/>
              <a:gd name="T20" fmla="*/ 75 w 246"/>
              <a:gd name="T21" fmla="*/ 173 h 178"/>
              <a:gd name="T22" fmla="*/ 72 w 246"/>
              <a:gd name="T23" fmla="*/ 163 h 178"/>
              <a:gd name="T24" fmla="*/ 62 w 246"/>
              <a:gd name="T25" fmla="*/ 158 h 178"/>
              <a:gd name="T26" fmla="*/ 56 w 246"/>
              <a:gd name="T27" fmla="*/ 144 h 178"/>
              <a:gd name="T28" fmla="*/ 42 w 246"/>
              <a:gd name="T29" fmla="*/ 148 h 178"/>
              <a:gd name="T30" fmla="*/ 26 w 246"/>
              <a:gd name="T31" fmla="*/ 134 h 178"/>
              <a:gd name="T32" fmla="*/ 28 w 246"/>
              <a:gd name="T33" fmla="*/ 123 h 178"/>
              <a:gd name="T34" fmla="*/ 10 w 246"/>
              <a:gd name="T35" fmla="*/ 106 h 178"/>
              <a:gd name="T36" fmla="*/ 0 w 246"/>
              <a:gd name="T37" fmla="*/ 93 h 178"/>
              <a:gd name="T38" fmla="*/ 10 w 246"/>
              <a:gd name="T39" fmla="*/ 85 h 178"/>
              <a:gd name="T40" fmla="*/ 24 w 246"/>
              <a:gd name="T41" fmla="*/ 81 h 178"/>
              <a:gd name="T42" fmla="*/ 42 w 246"/>
              <a:gd name="T43" fmla="*/ 40 h 178"/>
              <a:gd name="T44" fmla="*/ 58 w 246"/>
              <a:gd name="T45" fmla="*/ 25 h 178"/>
              <a:gd name="T46" fmla="*/ 64 w 246"/>
              <a:gd name="T47" fmla="*/ 17 h 178"/>
              <a:gd name="T48" fmla="*/ 101 w 246"/>
              <a:gd name="T49" fmla="*/ 18 h 178"/>
              <a:gd name="T50" fmla="*/ 117 w 246"/>
              <a:gd name="T51" fmla="*/ 27 h 178"/>
              <a:gd name="T52" fmla="*/ 135 w 246"/>
              <a:gd name="T53" fmla="*/ 18 h 178"/>
              <a:gd name="T54" fmla="*/ 153 w 246"/>
              <a:gd name="T55" fmla="*/ 2 h 178"/>
              <a:gd name="T56" fmla="*/ 156 w 246"/>
              <a:gd name="T57" fmla="*/ 0 h 178"/>
              <a:gd name="T58" fmla="*/ 162 w 246"/>
              <a:gd name="T59" fmla="*/ 8 h 178"/>
              <a:gd name="T60" fmla="*/ 175 w 246"/>
              <a:gd name="T61" fmla="*/ 29 h 178"/>
              <a:gd name="T62" fmla="*/ 193 w 246"/>
              <a:gd name="T63" fmla="*/ 47 h 178"/>
              <a:gd name="T64" fmla="*/ 199 w 246"/>
              <a:gd name="T65" fmla="*/ 68 h 178"/>
              <a:gd name="T66" fmla="*/ 199 w 246"/>
              <a:gd name="T67" fmla="*/ 93 h 178"/>
              <a:gd name="T68" fmla="*/ 205 w 246"/>
              <a:gd name="T69" fmla="*/ 99 h 178"/>
              <a:gd name="T70" fmla="*/ 205 w 246"/>
              <a:gd name="T71" fmla="*/ 101 h 178"/>
              <a:gd name="T72" fmla="*/ 209 w 246"/>
              <a:gd name="T73" fmla="*/ 110 h 178"/>
              <a:gd name="T74" fmla="*/ 221 w 246"/>
              <a:gd name="T75" fmla="*/ 110 h 178"/>
              <a:gd name="T76" fmla="*/ 231 w 246"/>
              <a:gd name="T77" fmla="*/ 100 h 178"/>
              <a:gd name="T78" fmla="*/ 242 w 246"/>
              <a:gd name="T79" fmla="*/ 10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6" h="178">
                <a:moveTo>
                  <a:pt x="242" y="102"/>
                </a:moveTo>
                <a:cubicBezTo>
                  <a:pt x="243" y="109"/>
                  <a:pt x="246" y="120"/>
                  <a:pt x="244" y="122"/>
                </a:cubicBezTo>
                <a:cubicBezTo>
                  <a:pt x="241" y="124"/>
                  <a:pt x="233" y="124"/>
                  <a:pt x="230" y="128"/>
                </a:cubicBezTo>
                <a:cubicBezTo>
                  <a:pt x="227" y="132"/>
                  <a:pt x="219" y="139"/>
                  <a:pt x="219" y="143"/>
                </a:cubicBezTo>
                <a:cubicBezTo>
                  <a:pt x="219" y="146"/>
                  <a:pt x="221" y="158"/>
                  <a:pt x="222" y="165"/>
                </a:cubicBezTo>
                <a:cubicBezTo>
                  <a:pt x="217" y="165"/>
                  <a:pt x="217" y="165"/>
                  <a:pt x="217" y="165"/>
                </a:cubicBezTo>
                <a:cubicBezTo>
                  <a:pt x="217" y="165"/>
                  <a:pt x="187" y="153"/>
                  <a:pt x="179" y="153"/>
                </a:cubicBezTo>
                <a:cubicBezTo>
                  <a:pt x="172" y="153"/>
                  <a:pt x="163" y="158"/>
                  <a:pt x="158" y="160"/>
                </a:cubicBezTo>
                <a:cubicBezTo>
                  <a:pt x="153" y="162"/>
                  <a:pt x="143" y="175"/>
                  <a:pt x="133" y="176"/>
                </a:cubicBezTo>
                <a:cubicBezTo>
                  <a:pt x="123" y="176"/>
                  <a:pt x="105" y="178"/>
                  <a:pt x="101" y="178"/>
                </a:cubicBezTo>
                <a:cubicBezTo>
                  <a:pt x="97" y="178"/>
                  <a:pt x="80" y="173"/>
                  <a:pt x="75" y="173"/>
                </a:cubicBezTo>
                <a:cubicBezTo>
                  <a:pt x="69" y="174"/>
                  <a:pt x="76" y="164"/>
                  <a:pt x="72" y="163"/>
                </a:cubicBezTo>
                <a:cubicBezTo>
                  <a:pt x="62" y="158"/>
                  <a:pt x="62" y="158"/>
                  <a:pt x="62" y="158"/>
                </a:cubicBezTo>
                <a:cubicBezTo>
                  <a:pt x="62" y="155"/>
                  <a:pt x="60" y="147"/>
                  <a:pt x="56" y="144"/>
                </a:cubicBezTo>
                <a:cubicBezTo>
                  <a:pt x="51" y="141"/>
                  <a:pt x="46" y="150"/>
                  <a:pt x="42" y="148"/>
                </a:cubicBezTo>
                <a:cubicBezTo>
                  <a:pt x="39" y="146"/>
                  <a:pt x="26" y="134"/>
                  <a:pt x="26" y="134"/>
                </a:cubicBezTo>
                <a:cubicBezTo>
                  <a:pt x="28" y="123"/>
                  <a:pt x="28" y="123"/>
                  <a:pt x="28" y="123"/>
                </a:cubicBezTo>
                <a:cubicBezTo>
                  <a:pt x="28" y="123"/>
                  <a:pt x="14" y="111"/>
                  <a:pt x="10" y="106"/>
                </a:cubicBezTo>
                <a:cubicBezTo>
                  <a:pt x="8" y="103"/>
                  <a:pt x="3" y="97"/>
                  <a:pt x="0" y="93"/>
                </a:cubicBezTo>
                <a:cubicBezTo>
                  <a:pt x="10" y="85"/>
                  <a:pt x="10" y="85"/>
                  <a:pt x="10" y="85"/>
                </a:cubicBezTo>
                <a:cubicBezTo>
                  <a:pt x="13" y="82"/>
                  <a:pt x="23" y="86"/>
                  <a:pt x="24" y="81"/>
                </a:cubicBezTo>
                <a:cubicBezTo>
                  <a:pt x="25" y="76"/>
                  <a:pt x="35" y="47"/>
                  <a:pt x="42" y="40"/>
                </a:cubicBezTo>
                <a:cubicBezTo>
                  <a:pt x="49" y="34"/>
                  <a:pt x="58" y="25"/>
                  <a:pt x="58" y="25"/>
                </a:cubicBezTo>
                <a:cubicBezTo>
                  <a:pt x="64" y="17"/>
                  <a:pt x="64" y="17"/>
                  <a:pt x="64" y="17"/>
                </a:cubicBezTo>
                <a:cubicBezTo>
                  <a:pt x="71" y="17"/>
                  <a:pt x="96" y="17"/>
                  <a:pt x="101" y="18"/>
                </a:cubicBezTo>
                <a:cubicBezTo>
                  <a:pt x="107" y="18"/>
                  <a:pt x="115" y="28"/>
                  <a:pt x="117" y="27"/>
                </a:cubicBezTo>
                <a:cubicBezTo>
                  <a:pt x="119" y="27"/>
                  <a:pt x="133" y="20"/>
                  <a:pt x="135" y="18"/>
                </a:cubicBezTo>
                <a:cubicBezTo>
                  <a:pt x="138" y="16"/>
                  <a:pt x="149" y="6"/>
                  <a:pt x="153" y="2"/>
                </a:cubicBezTo>
                <a:cubicBezTo>
                  <a:pt x="153" y="2"/>
                  <a:pt x="154" y="1"/>
                  <a:pt x="156" y="0"/>
                </a:cubicBezTo>
                <a:cubicBezTo>
                  <a:pt x="162" y="8"/>
                  <a:pt x="162" y="8"/>
                  <a:pt x="162" y="8"/>
                </a:cubicBezTo>
                <a:cubicBezTo>
                  <a:pt x="162" y="8"/>
                  <a:pt x="173" y="25"/>
                  <a:pt x="175" y="29"/>
                </a:cubicBezTo>
                <a:cubicBezTo>
                  <a:pt x="177" y="34"/>
                  <a:pt x="191" y="43"/>
                  <a:pt x="193" y="47"/>
                </a:cubicBezTo>
                <a:cubicBezTo>
                  <a:pt x="195" y="51"/>
                  <a:pt x="201" y="62"/>
                  <a:pt x="199" y="68"/>
                </a:cubicBezTo>
                <a:cubicBezTo>
                  <a:pt x="197" y="75"/>
                  <a:pt x="199" y="87"/>
                  <a:pt x="199" y="93"/>
                </a:cubicBezTo>
                <a:cubicBezTo>
                  <a:pt x="205" y="99"/>
                  <a:pt x="205" y="99"/>
                  <a:pt x="205" y="99"/>
                </a:cubicBezTo>
                <a:cubicBezTo>
                  <a:pt x="205" y="100"/>
                  <a:pt x="204" y="100"/>
                  <a:pt x="205" y="101"/>
                </a:cubicBezTo>
                <a:cubicBezTo>
                  <a:pt x="205" y="107"/>
                  <a:pt x="205" y="108"/>
                  <a:pt x="209" y="110"/>
                </a:cubicBezTo>
                <a:cubicBezTo>
                  <a:pt x="213" y="111"/>
                  <a:pt x="219" y="112"/>
                  <a:pt x="221" y="110"/>
                </a:cubicBezTo>
                <a:cubicBezTo>
                  <a:pt x="224" y="108"/>
                  <a:pt x="227" y="100"/>
                  <a:pt x="231" y="100"/>
                </a:cubicBezTo>
                <a:cubicBezTo>
                  <a:pt x="232" y="100"/>
                  <a:pt x="237" y="101"/>
                  <a:pt x="242" y="102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61" name="Freeform 795"/>
          <p:cNvSpPr>
            <a:spLocks/>
          </p:cNvSpPr>
          <p:nvPr/>
        </p:nvSpPr>
        <p:spPr bwMode="auto">
          <a:xfrm>
            <a:off x="4835633" y="4638615"/>
            <a:ext cx="1035734" cy="580493"/>
          </a:xfrm>
          <a:custGeom>
            <a:avLst/>
            <a:gdLst>
              <a:gd name="T0" fmla="*/ 173 w 173"/>
              <a:gd name="T1" fmla="*/ 12 h 116"/>
              <a:gd name="T2" fmla="*/ 173 w 173"/>
              <a:gd name="T3" fmla="*/ 18 h 116"/>
              <a:gd name="T4" fmla="*/ 169 w 173"/>
              <a:gd name="T5" fmla="*/ 26 h 116"/>
              <a:gd name="T6" fmla="*/ 159 w 173"/>
              <a:gd name="T7" fmla="*/ 28 h 116"/>
              <a:gd name="T8" fmla="*/ 156 w 173"/>
              <a:gd name="T9" fmla="*/ 50 h 116"/>
              <a:gd name="T10" fmla="*/ 146 w 173"/>
              <a:gd name="T11" fmla="*/ 59 h 116"/>
              <a:gd name="T12" fmla="*/ 157 w 173"/>
              <a:gd name="T13" fmla="*/ 69 h 116"/>
              <a:gd name="T14" fmla="*/ 163 w 173"/>
              <a:gd name="T15" fmla="*/ 78 h 116"/>
              <a:gd name="T16" fmla="*/ 153 w 173"/>
              <a:gd name="T17" fmla="*/ 82 h 116"/>
              <a:gd name="T18" fmla="*/ 137 w 173"/>
              <a:gd name="T19" fmla="*/ 80 h 116"/>
              <a:gd name="T20" fmla="*/ 117 w 173"/>
              <a:gd name="T21" fmla="*/ 87 h 116"/>
              <a:gd name="T22" fmla="*/ 109 w 173"/>
              <a:gd name="T23" fmla="*/ 104 h 116"/>
              <a:gd name="T24" fmla="*/ 90 w 173"/>
              <a:gd name="T25" fmla="*/ 109 h 116"/>
              <a:gd name="T26" fmla="*/ 61 w 173"/>
              <a:gd name="T27" fmla="*/ 102 h 116"/>
              <a:gd name="T28" fmla="*/ 24 w 173"/>
              <a:gd name="T29" fmla="*/ 116 h 116"/>
              <a:gd name="T30" fmla="*/ 23 w 173"/>
              <a:gd name="T31" fmla="*/ 102 h 116"/>
              <a:gd name="T32" fmla="*/ 17 w 173"/>
              <a:gd name="T33" fmla="*/ 87 h 116"/>
              <a:gd name="T34" fmla="*/ 4 w 173"/>
              <a:gd name="T35" fmla="*/ 74 h 116"/>
              <a:gd name="T36" fmla="*/ 21 w 173"/>
              <a:gd name="T37" fmla="*/ 44 h 116"/>
              <a:gd name="T38" fmla="*/ 5 w 173"/>
              <a:gd name="T39" fmla="*/ 22 h 116"/>
              <a:gd name="T40" fmla="*/ 13 w 173"/>
              <a:gd name="T41" fmla="*/ 5 h 116"/>
              <a:gd name="T42" fmla="*/ 23 w 173"/>
              <a:gd name="T43" fmla="*/ 10 h 116"/>
              <a:gd name="T44" fmla="*/ 26 w 173"/>
              <a:gd name="T45" fmla="*/ 20 h 116"/>
              <a:gd name="T46" fmla="*/ 52 w 173"/>
              <a:gd name="T47" fmla="*/ 25 h 116"/>
              <a:gd name="T48" fmla="*/ 84 w 173"/>
              <a:gd name="T49" fmla="*/ 23 h 116"/>
              <a:gd name="T50" fmla="*/ 109 w 173"/>
              <a:gd name="T51" fmla="*/ 7 h 116"/>
              <a:gd name="T52" fmla="*/ 130 w 173"/>
              <a:gd name="T53" fmla="*/ 0 h 116"/>
              <a:gd name="T54" fmla="*/ 168 w 173"/>
              <a:gd name="T55" fmla="*/ 12 h 116"/>
              <a:gd name="T56" fmla="*/ 173 w 173"/>
              <a:gd name="T57" fmla="*/ 1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3" h="116">
                <a:moveTo>
                  <a:pt x="173" y="12"/>
                </a:moveTo>
                <a:cubicBezTo>
                  <a:pt x="173" y="15"/>
                  <a:pt x="173" y="17"/>
                  <a:pt x="173" y="18"/>
                </a:cubicBezTo>
                <a:cubicBezTo>
                  <a:pt x="173" y="21"/>
                  <a:pt x="170" y="24"/>
                  <a:pt x="169" y="26"/>
                </a:cubicBezTo>
                <a:cubicBezTo>
                  <a:pt x="168" y="29"/>
                  <a:pt x="159" y="24"/>
                  <a:pt x="159" y="28"/>
                </a:cubicBezTo>
                <a:cubicBezTo>
                  <a:pt x="159" y="33"/>
                  <a:pt x="156" y="47"/>
                  <a:pt x="156" y="50"/>
                </a:cubicBezTo>
                <a:cubicBezTo>
                  <a:pt x="156" y="54"/>
                  <a:pt x="146" y="54"/>
                  <a:pt x="146" y="59"/>
                </a:cubicBezTo>
                <a:cubicBezTo>
                  <a:pt x="146" y="65"/>
                  <a:pt x="151" y="69"/>
                  <a:pt x="157" y="69"/>
                </a:cubicBezTo>
                <a:cubicBezTo>
                  <a:pt x="161" y="70"/>
                  <a:pt x="163" y="74"/>
                  <a:pt x="163" y="78"/>
                </a:cubicBezTo>
                <a:cubicBezTo>
                  <a:pt x="159" y="80"/>
                  <a:pt x="154" y="82"/>
                  <a:pt x="153" y="82"/>
                </a:cubicBezTo>
                <a:cubicBezTo>
                  <a:pt x="149" y="84"/>
                  <a:pt x="142" y="78"/>
                  <a:pt x="137" y="80"/>
                </a:cubicBezTo>
                <a:cubicBezTo>
                  <a:pt x="131" y="81"/>
                  <a:pt x="125" y="82"/>
                  <a:pt x="117" y="87"/>
                </a:cubicBezTo>
                <a:cubicBezTo>
                  <a:pt x="110" y="92"/>
                  <a:pt x="111" y="98"/>
                  <a:pt x="109" y="104"/>
                </a:cubicBezTo>
                <a:cubicBezTo>
                  <a:pt x="107" y="110"/>
                  <a:pt x="96" y="109"/>
                  <a:pt x="90" y="109"/>
                </a:cubicBezTo>
                <a:cubicBezTo>
                  <a:pt x="84" y="109"/>
                  <a:pt x="68" y="102"/>
                  <a:pt x="61" y="102"/>
                </a:cubicBezTo>
                <a:cubicBezTo>
                  <a:pt x="55" y="102"/>
                  <a:pt x="35" y="111"/>
                  <a:pt x="24" y="11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3" y="97"/>
                  <a:pt x="17" y="87"/>
                  <a:pt x="17" y="87"/>
                </a:cubicBezTo>
                <a:cubicBezTo>
                  <a:pt x="17" y="87"/>
                  <a:pt x="0" y="80"/>
                  <a:pt x="4" y="74"/>
                </a:cubicBezTo>
                <a:cubicBezTo>
                  <a:pt x="8" y="68"/>
                  <a:pt x="21" y="44"/>
                  <a:pt x="21" y="44"/>
                </a:cubicBezTo>
                <a:cubicBezTo>
                  <a:pt x="21" y="44"/>
                  <a:pt x="4" y="30"/>
                  <a:pt x="5" y="22"/>
                </a:cubicBezTo>
                <a:cubicBezTo>
                  <a:pt x="7" y="13"/>
                  <a:pt x="13" y="8"/>
                  <a:pt x="13" y="5"/>
                </a:cubicBezTo>
                <a:cubicBezTo>
                  <a:pt x="23" y="10"/>
                  <a:pt x="23" y="10"/>
                  <a:pt x="23" y="10"/>
                </a:cubicBezTo>
                <a:cubicBezTo>
                  <a:pt x="27" y="11"/>
                  <a:pt x="20" y="21"/>
                  <a:pt x="26" y="20"/>
                </a:cubicBezTo>
                <a:cubicBezTo>
                  <a:pt x="31" y="20"/>
                  <a:pt x="48" y="25"/>
                  <a:pt x="52" y="25"/>
                </a:cubicBezTo>
                <a:cubicBezTo>
                  <a:pt x="56" y="25"/>
                  <a:pt x="74" y="23"/>
                  <a:pt x="84" y="23"/>
                </a:cubicBezTo>
                <a:cubicBezTo>
                  <a:pt x="94" y="22"/>
                  <a:pt x="104" y="9"/>
                  <a:pt x="109" y="7"/>
                </a:cubicBezTo>
                <a:cubicBezTo>
                  <a:pt x="114" y="5"/>
                  <a:pt x="123" y="0"/>
                  <a:pt x="130" y="0"/>
                </a:cubicBezTo>
                <a:cubicBezTo>
                  <a:pt x="138" y="0"/>
                  <a:pt x="168" y="12"/>
                  <a:pt x="168" y="12"/>
                </a:cubicBezTo>
                <a:lnTo>
                  <a:pt x="173" y="12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62" name="Freeform 835"/>
          <p:cNvSpPr>
            <a:spLocks/>
          </p:cNvSpPr>
          <p:nvPr/>
        </p:nvSpPr>
        <p:spPr bwMode="auto">
          <a:xfrm>
            <a:off x="2417997" y="4093059"/>
            <a:ext cx="1816611" cy="1397834"/>
          </a:xfrm>
          <a:custGeom>
            <a:avLst/>
            <a:gdLst>
              <a:gd name="T0" fmla="*/ 106 w 304"/>
              <a:gd name="T1" fmla="*/ 3 h 347"/>
              <a:gd name="T2" fmla="*/ 129 w 304"/>
              <a:gd name="T3" fmla="*/ 0 h 347"/>
              <a:gd name="T4" fmla="*/ 153 w 304"/>
              <a:gd name="T5" fmla="*/ 13 h 347"/>
              <a:gd name="T6" fmla="*/ 182 w 304"/>
              <a:gd name="T7" fmla="*/ 26 h 347"/>
              <a:gd name="T8" fmla="*/ 180 w 304"/>
              <a:gd name="T9" fmla="*/ 43 h 347"/>
              <a:gd name="T10" fmla="*/ 168 w 304"/>
              <a:gd name="T11" fmla="*/ 55 h 347"/>
              <a:gd name="T12" fmla="*/ 146 w 304"/>
              <a:gd name="T13" fmla="*/ 71 h 347"/>
              <a:gd name="T14" fmla="*/ 146 w 304"/>
              <a:gd name="T15" fmla="*/ 85 h 347"/>
              <a:gd name="T16" fmla="*/ 145 w 304"/>
              <a:gd name="T17" fmla="*/ 108 h 347"/>
              <a:gd name="T18" fmla="*/ 173 w 304"/>
              <a:gd name="T19" fmla="*/ 132 h 347"/>
              <a:gd name="T20" fmla="*/ 205 w 304"/>
              <a:gd name="T21" fmla="*/ 191 h 347"/>
              <a:gd name="T22" fmla="*/ 239 w 304"/>
              <a:gd name="T23" fmla="*/ 198 h 347"/>
              <a:gd name="T24" fmla="*/ 232 w 304"/>
              <a:gd name="T25" fmla="*/ 211 h 347"/>
              <a:gd name="T26" fmla="*/ 277 w 304"/>
              <a:gd name="T27" fmla="*/ 240 h 347"/>
              <a:gd name="T28" fmla="*/ 293 w 304"/>
              <a:gd name="T29" fmla="*/ 253 h 347"/>
              <a:gd name="T30" fmla="*/ 301 w 304"/>
              <a:gd name="T31" fmla="*/ 279 h 347"/>
              <a:gd name="T32" fmla="*/ 289 w 304"/>
              <a:gd name="T33" fmla="*/ 271 h 347"/>
              <a:gd name="T34" fmla="*/ 276 w 304"/>
              <a:gd name="T35" fmla="*/ 260 h 347"/>
              <a:gd name="T36" fmla="*/ 253 w 304"/>
              <a:gd name="T37" fmla="*/ 263 h 347"/>
              <a:gd name="T38" fmla="*/ 246 w 304"/>
              <a:gd name="T39" fmla="*/ 279 h 347"/>
              <a:gd name="T40" fmla="*/ 264 w 304"/>
              <a:gd name="T41" fmla="*/ 292 h 347"/>
              <a:gd name="T42" fmla="*/ 266 w 304"/>
              <a:gd name="T43" fmla="*/ 307 h 347"/>
              <a:gd name="T44" fmla="*/ 252 w 304"/>
              <a:gd name="T45" fmla="*/ 312 h 347"/>
              <a:gd name="T46" fmla="*/ 246 w 304"/>
              <a:gd name="T47" fmla="*/ 330 h 347"/>
              <a:gd name="T48" fmla="*/ 234 w 304"/>
              <a:gd name="T49" fmla="*/ 339 h 347"/>
              <a:gd name="T50" fmla="*/ 219 w 304"/>
              <a:gd name="T51" fmla="*/ 345 h 347"/>
              <a:gd name="T52" fmla="*/ 224 w 304"/>
              <a:gd name="T53" fmla="*/ 332 h 347"/>
              <a:gd name="T54" fmla="*/ 224 w 304"/>
              <a:gd name="T55" fmla="*/ 319 h 347"/>
              <a:gd name="T56" fmla="*/ 235 w 304"/>
              <a:gd name="T57" fmla="*/ 315 h 347"/>
              <a:gd name="T58" fmla="*/ 233 w 304"/>
              <a:gd name="T59" fmla="*/ 303 h 347"/>
              <a:gd name="T60" fmla="*/ 225 w 304"/>
              <a:gd name="T61" fmla="*/ 274 h 347"/>
              <a:gd name="T62" fmla="*/ 215 w 304"/>
              <a:gd name="T63" fmla="*/ 269 h 347"/>
              <a:gd name="T64" fmla="*/ 202 w 304"/>
              <a:gd name="T65" fmla="*/ 258 h 347"/>
              <a:gd name="T66" fmla="*/ 198 w 304"/>
              <a:gd name="T67" fmla="*/ 242 h 347"/>
              <a:gd name="T68" fmla="*/ 188 w 304"/>
              <a:gd name="T69" fmla="*/ 238 h 347"/>
              <a:gd name="T70" fmla="*/ 175 w 304"/>
              <a:gd name="T71" fmla="*/ 226 h 347"/>
              <a:gd name="T72" fmla="*/ 153 w 304"/>
              <a:gd name="T73" fmla="*/ 218 h 347"/>
              <a:gd name="T74" fmla="*/ 132 w 304"/>
              <a:gd name="T75" fmla="*/ 197 h 347"/>
              <a:gd name="T76" fmla="*/ 97 w 304"/>
              <a:gd name="T77" fmla="*/ 153 h 347"/>
              <a:gd name="T78" fmla="*/ 89 w 304"/>
              <a:gd name="T79" fmla="*/ 132 h 347"/>
              <a:gd name="T80" fmla="*/ 73 w 304"/>
              <a:gd name="T81" fmla="*/ 103 h 347"/>
              <a:gd name="T82" fmla="*/ 47 w 304"/>
              <a:gd name="T83" fmla="*/ 87 h 347"/>
              <a:gd name="T84" fmla="*/ 31 w 304"/>
              <a:gd name="T85" fmla="*/ 102 h 347"/>
              <a:gd name="T86" fmla="*/ 11 w 304"/>
              <a:gd name="T87" fmla="*/ 106 h 347"/>
              <a:gd name="T88" fmla="*/ 21 w 304"/>
              <a:gd name="T89" fmla="*/ 91 h 347"/>
              <a:gd name="T90" fmla="*/ 2 w 304"/>
              <a:gd name="T91" fmla="*/ 55 h 347"/>
              <a:gd name="T92" fmla="*/ 7 w 304"/>
              <a:gd name="T93" fmla="*/ 29 h 347"/>
              <a:gd name="T94" fmla="*/ 25 w 304"/>
              <a:gd name="T95" fmla="*/ 25 h 347"/>
              <a:gd name="T96" fmla="*/ 48 w 304"/>
              <a:gd name="T97" fmla="*/ 9 h 347"/>
              <a:gd name="T98" fmla="*/ 57 w 304"/>
              <a:gd name="T99" fmla="*/ 22 h 347"/>
              <a:gd name="T100" fmla="*/ 68 w 304"/>
              <a:gd name="T101" fmla="*/ 33 h 347"/>
              <a:gd name="T102" fmla="*/ 87 w 304"/>
              <a:gd name="T103" fmla="*/ 20 h 347"/>
              <a:gd name="connsiteX0" fmla="*/ 7497 w 9964"/>
              <a:gd name="connsiteY0" fmla="*/ 8271 h 9990"/>
              <a:gd name="connsiteX1" fmla="*/ 7365 w 9964"/>
              <a:gd name="connsiteY1" fmla="*/ 7896 h 9990"/>
              <a:gd name="connsiteX2" fmla="*/ 7201 w 9964"/>
              <a:gd name="connsiteY2" fmla="*/ 7666 h 9990"/>
              <a:gd name="connsiteX3" fmla="*/ 7036 w 9964"/>
              <a:gd name="connsiteY3" fmla="*/ 7752 h 9990"/>
              <a:gd name="connsiteX4" fmla="*/ 6872 w 9964"/>
              <a:gd name="connsiteY4" fmla="*/ 7695 h 9990"/>
              <a:gd name="connsiteX5" fmla="*/ 6609 w 9964"/>
              <a:gd name="connsiteY5" fmla="*/ 7435 h 9990"/>
              <a:gd name="connsiteX6" fmla="*/ 6675 w 9964"/>
              <a:gd name="connsiteY6" fmla="*/ 7262 h 9990"/>
              <a:gd name="connsiteX7" fmla="*/ 6477 w 9964"/>
              <a:gd name="connsiteY7" fmla="*/ 6974 h 9990"/>
              <a:gd name="connsiteX8" fmla="*/ 6082 w 9964"/>
              <a:gd name="connsiteY8" fmla="*/ 7061 h 9990"/>
              <a:gd name="connsiteX9" fmla="*/ 6148 w 9964"/>
              <a:gd name="connsiteY9" fmla="*/ 6859 h 9990"/>
              <a:gd name="connsiteX10" fmla="*/ 5918 w 9964"/>
              <a:gd name="connsiteY10" fmla="*/ 6801 h 9990"/>
              <a:gd name="connsiteX11" fmla="*/ 5721 w 9964"/>
              <a:gd name="connsiteY11" fmla="*/ 6513 h 9990"/>
              <a:gd name="connsiteX12" fmla="*/ 5326 w 9964"/>
              <a:gd name="connsiteY12" fmla="*/ 6282 h 9990"/>
              <a:gd name="connsiteX13" fmla="*/ 4997 w 9964"/>
              <a:gd name="connsiteY13" fmla="*/ 6282 h 9990"/>
              <a:gd name="connsiteX14" fmla="*/ 4734 w 9964"/>
              <a:gd name="connsiteY14" fmla="*/ 6081 h 9990"/>
              <a:gd name="connsiteX15" fmla="*/ 4306 w 9964"/>
              <a:gd name="connsiteY15" fmla="*/ 5677 h 9990"/>
              <a:gd name="connsiteX16" fmla="*/ 3681 w 9964"/>
              <a:gd name="connsiteY16" fmla="*/ 4957 h 9990"/>
              <a:gd name="connsiteX17" fmla="*/ 3155 w 9964"/>
              <a:gd name="connsiteY17" fmla="*/ 4409 h 9990"/>
              <a:gd name="connsiteX18" fmla="*/ 2859 w 9964"/>
              <a:gd name="connsiteY18" fmla="*/ 4265 h 9990"/>
              <a:gd name="connsiteX19" fmla="*/ 2892 w 9964"/>
              <a:gd name="connsiteY19" fmla="*/ 3804 h 9990"/>
              <a:gd name="connsiteX20" fmla="*/ 2760 w 9964"/>
              <a:gd name="connsiteY20" fmla="*/ 3112 h 9990"/>
              <a:gd name="connsiteX21" fmla="*/ 2365 w 9964"/>
              <a:gd name="connsiteY21" fmla="*/ 2968 h 9990"/>
              <a:gd name="connsiteX22" fmla="*/ 1905 w 9964"/>
              <a:gd name="connsiteY22" fmla="*/ 2594 h 9990"/>
              <a:gd name="connsiteX23" fmla="*/ 1510 w 9964"/>
              <a:gd name="connsiteY23" fmla="*/ 2507 h 9990"/>
              <a:gd name="connsiteX24" fmla="*/ 1247 w 9964"/>
              <a:gd name="connsiteY24" fmla="*/ 2709 h 9990"/>
              <a:gd name="connsiteX25" fmla="*/ 984 w 9964"/>
              <a:gd name="connsiteY25" fmla="*/ 2939 h 9990"/>
              <a:gd name="connsiteX26" fmla="*/ 392 w 9964"/>
              <a:gd name="connsiteY26" fmla="*/ 3055 h 9990"/>
              <a:gd name="connsiteX27" fmla="*/ 326 w 9964"/>
              <a:gd name="connsiteY27" fmla="*/ 3055 h 9990"/>
              <a:gd name="connsiteX28" fmla="*/ 392 w 9964"/>
              <a:gd name="connsiteY28" fmla="*/ 2939 h 9990"/>
              <a:gd name="connsiteX29" fmla="*/ 655 w 9964"/>
              <a:gd name="connsiteY29" fmla="*/ 2622 h 9990"/>
              <a:gd name="connsiteX30" fmla="*/ 30 w 9964"/>
              <a:gd name="connsiteY30" fmla="*/ 2305 h 9990"/>
              <a:gd name="connsiteX31" fmla="*/ 30 w 9964"/>
              <a:gd name="connsiteY31" fmla="*/ 1585 h 9990"/>
              <a:gd name="connsiteX32" fmla="*/ 425 w 9964"/>
              <a:gd name="connsiteY32" fmla="*/ 1268 h 9990"/>
              <a:gd name="connsiteX33" fmla="*/ 194 w 9964"/>
              <a:gd name="connsiteY33" fmla="*/ 836 h 9990"/>
              <a:gd name="connsiteX34" fmla="*/ 490 w 9964"/>
              <a:gd name="connsiteY34" fmla="*/ 663 h 9990"/>
              <a:gd name="connsiteX35" fmla="*/ 786 w 9964"/>
              <a:gd name="connsiteY35" fmla="*/ 720 h 9990"/>
              <a:gd name="connsiteX36" fmla="*/ 1115 w 9964"/>
              <a:gd name="connsiteY36" fmla="*/ 692 h 9990"/>
              <a:gd name="connsiteX37" fmla="*/ 1543 w 9964"/>
              <a:gd name="connsiteY37" fmla="*/ 259 h 9990"/>
              <a:gd name="connsiteX38" fmla="*/ 1773 w 9964"/>
              <a:gd name="connsiteY38" fmla="*/ 317 h 9990"/>
              <a:gd name="connsiteX39" fmla="*/ 1839 w 9964"/>
              <a:gd name="connsiteY39" fmla="*/ 634 h 9990"/>
              <a:gd name="connsiteX40" fmla="*/ 1971 w 9964"/>
              <a:gd name="connsiteY40" fmla="*/ 1037 h 9990"/>
              <a:gd name="connsiteX41" fmla="*/ 2201 w 9964"/>
              <a:gd name="connsiteY41" fmla="*/ 951 h 9990"/>
              <a:gd name="connsiteX42" fmla="*/ 2431 w 9964"/>
              <a:gd name="connsiteY42" fmla="*/ 346 h 9990"/>
              <a:gd name="connsiteX43" fmla="*/ 2826 w 9964"/>
              <a:gd name="connsiteY43" fmla="*/ 576 h 9990"/>
              <a:gd name="connsiteX44" fmla="*/ 3155 w 9964"/>
              <a:gd name="connsiteY44" fmla="*/ 461 h 9990"/>
              <a:gd name="connsiteX45" fmla="*/ 3451 w 9964"/>
              <a:gd name="connsiteY45" fmla="*/ 86 h 9990"/>
              <a:gd name="connsiteX46" fmla="*/ 3813 w 9964"/>
              <a:gd name="connsiteY46" fmla="*/ 202 h 9990"/>
              <a:gd name="connsiteX47" fmla="*/ 4207 w 9964"/>
              <a:gd name="connsiteY47" fmla="*/ 0 h 9990"/>
              <a:gd name="connsiteX48" fmla="*/ 4800 w 9964"/>
              <a:gd name="connsiteY48" fmla="*/ 29 h 9990"/>
              <a:gd name="connsiteX49" fmla="*/ 4997 w 9964"/>
              <a:gd name="connsiteY49" fmla="*/ 375 h 9990"/>
              <a:gd name="connsiteX50" fmla="*/ 5688 w 9964"/>
              <a:gd name="connsiteY50" fmla="*/ 605 h 9990"/>
              <a:gd name="connsiteX51" fmla="*/ 5951 w 9964"/>
              <a:gd name="connsiteY51" fmla="*/ 749 h 9990"/>
              <a:gd name="connsiteX52" fmla="*/ 5885 w 9964"/>
              <a:gd name="connsiteY52" fmla="*/ 922 h 9990"/>
              <a:gd name="connsiteX53" fmla="*/ 5885 w 9964"/>
              <a:gd name="connsiteY53" fmla="*/ 1239 h 9990"/>
              <a:gd name="connsiteX54" fmla="*/ 5852 w 9964"/>
              <a:gd name="connsiteY54" fmla="*/ 1527 h 9990"/>
              <a:gd name="connsiteX55" fmla="*/ 5490 w 9964"/>
              <a:gd name="connsiteY55" fmla="*/ 1585 h 9990"/>
              <a:gd name="connsiteX56" fmla="*/ 4832 w 9964"/>
              <a:gd name="connsiteY56" fmla="*/ 1787 h 9990"/>
              <a:gd name="connsiteX57" fmla="*/ 4767 w 9964"/>
              <a:gd name="connsiteY57" fmla="*/ 2046 h 9990"/>
              <a:gd name="connsiteX58" fmla="*/ 4931 w 9964"/>
              <a:gd name="connsiteY58" fmla="*/ 2277 h 9990"/>
              <a:gd name="connsiteX59" fmla="*/ 4767 w 9964"/>
              <a:gd name="connsiteY59" fmla="*/ 2450 h 9990"/>
              <a:gd name="connsiteX60" fmla="*/ 4635 w 9964"/>
              <a:gd name="connsiteY60" fmla="*/ 2536 h 9990"/>
              <a:gd name="connsiteX61" fmla="*/ 4734 w 9964"/>
              <a:gd name="connsiteY61" fmla="*/ 3112 h 9990"/>
              <a:gd name="connsiteX62" fmla="*/ 5260 w 9964"/>
              <a:gd name="connsiteY62" fmla="*/ 3516 h 9990"/>
              <a:gd name="connsiteX63" fmla="*/ 5655 w 9964"/>
              <a:gd name="connsiteY63" fmla="*/ 3804 h 9990"/>
              <a:gd name="connsiteX64" fmla="*/ 5918 w 9964"/>
              <a:gd name="connsiteY64" fmla="*/ 4697 h 9990"/>
              <a:gd name="connsiteX65" fmla="*/ 6707 w 9964"/>
              <a:gd name="connsiteY65" fmla="*/ 5504 h 9990"/>
              <a:gd name="connsiteX66" fmla="*/ 7234 w 9964"/>
              <a:gd name="connsiteY66" fmla="*/ 5677 h 9990"/>
              <a:gd name="connsiteX67" fmla="*/ 7826 w 9964"/>
              <a:gd name="connsiteY67" fmla="*/ 5706 h 9990"/>
              <a:gd name="connsiteX68" fmla="*/ 7892 w 9964"/>
              <a:gd name="connsiteY68" fmla="*/ 5908 h 9990"/>
              <a:gd name="connsiteX69" fmla="*/ 7596 w 9964"/>
              <a:gd name="connsiteY69" fmla="*/ 6081 h 9990"/>
              <a:gd name="connsiteX70" fmla="*/ 8517 w 9964"/>
              <a:gd name="connsiteY70" fmla="*/ 6599 h 9990"/>
              <a:gd name="connsiteX71" fmla="*/ 9076 w 9964"/>
              <a:gd name="connsiteY71" fmla="*/ 6916 h 9990"/>
              <a:gd name="connsiteX72" fmla="*/ 9471 w 9964"/>
              <a:gd name="connsiteY72" fmla="*/ 7089 h 9990"/>
              <a:gd name="connsiteX73" fmla="*/ 9602 w 9964"/>
              <a:gd name="connsiteY73" fmla="*/ 7291 h 9990"/>
              <a:gd name="connsiteX74" fmla="*/ 9964 w 9964"/>
              <a:gd name="connsiteY74" fmla="*/ 7695 h 9990"/>
              <a:gd name="connsiteX75" fmla="*/ 9865 w 9964"/>
              <a:gd name="connsiteY75" fmla="*/ 8040 h 9990"/>
              <a:gd name="connsiteX76" fmla="*/ 9668 w 9964"/>
              <a:gd name="connsiteY76" fmla="*/ 8040 h 9990"/>
              <a:gd name="connsiteX77" fmla="*/ 9471 w 9964"/>
              <a:gd name="connsiteY77" fmla="*/ 7810 h 9990"/>
              <a:gd name="connsiteX78" fmla="*/ 9372 w 9964"/>
              <a:gd name="connsiteY78" fmla="*/ 7550 h 9990"/>
              <a:gd name="connsiteX79" fmla="*/ 9043 w 9964"/>
              <a:gd name="connsiteY79" fmla="*/ 7493 h 9990"/>
              <a:gd name="connsiteX80" fmla="*/ 8681 w 9964"/>
              <a:gd name="connsiteY80" fmla="*/ 7262 h 9990"/>
              <a:gd name="connsiteX81" fmla="*/ 8286 w 9964"/>
              <a:gd name="connsiteY81" fmla="*/ 7579 h 9990"/>
              <a:gd name="connsiteX82" fmla="*/ 8155 w 9964"/>
              <a:gd name="connsiteY82" fmla="*/ 7839 h 9990"/>
              <a:gd name="connsiteX83" fmla="*/ 8056 w 9964"/>
              <a:gd name="connsiteY83" fmla="*/ 8040 h 9990"/>
              <a:gd name="connsiteX84" fmla="*/ 8319 w 9964"/>
              <a:gd name="connsiteY84" fmla="*/ 8184 h 9990"/>
              <a:gd name="connsiteX85" fmla="*/ 8648 w 9964"/>
              <a:gd name="connsiteY85" fmla="*/ 8415 h 9990"/>
              <a:gd name="connsiteX86" fmla="*/ 8615 w 9964"/>
              <a:gd name="connsiteY86" fmla="*/ 8674 h 9990"/>
              <a:gd name="connsiteX87" fmla="*/ 8714 w 9964"/>
              <a:gd name="connsiteY87" fmla="*/ 8847 h 9990"/>
              <a:gd name="connsiteX88" fmla="*/ 8582 w 9964"/>
              <a:gd name="connsiteY88" fmla="*/ 8991 h 9990"/>
              <a:gd name="connsiteX89" fmla="*/ 8253 w 9964"/>
              <a:gd name="connsiteY89" fmla="*/ 8991 h 9990"/>
              <a:gd name="connsiteX90" fmla="*/ 8089 w 9964"/>
              <a:gd name="connsiteY90" fmla="*/ 9251 h 9990"/>
              <a:gd name="connsiteX91" fmla="*/ 8056 w 9964"/>
              <a:gd name="connsiteY91" fmla="*/ 9510 h 9990"/>
              <a:gd name="connsiteX92" fmla="*/ 7826 w 9964"/>
              <a:gd name="connsiteY92" fmla="*/ 9597 h 9990"/>
              <a:gd name="connsiteX93" fmla="*/ 7661 w 9964"/>
              <a:gd name="connsiteY93" fmla="*/ 9769 h 9990"/>
              <a:gd name="connsiteX94" fmla="*/ 7563 w 9964"/>
              <a:gd name="connsiteY94" fmla="*/ 9971 h 9990"/>
              <a:gd name="connsiteX95" fmla="*/ 7168 w 9964"/>
              <a:gd name="connsiteY95" fmla="*/ 9942 h 9990"/>
              <a:gd name="connsiteX96" fmla="*/ 7168 w 9964"/>
              <a:gd name="connsiteY96" fmla="*/ 9654 h 9990"/>
              <a:gd name="connsiteX97" fmla="*/ 7332 w 9964"/>
              <a:gd name="connsiteY97" fmla="*/ 9568 h 9990"/>
              <a:gd name="connsiteX98" fmla="*/ 7431 w 9964"/>
              <a:gd name="connsiteY98" fmla="*/ 9337 h 9990"/>
              <a:gd name="connsiteX99" fmla="*/ 7332 w 9964"/>
              <a:gd name="connsiteY99" fmla="*/ 9193 h 9990"/>
              <a:gd name="connsiteX100" fmla="*/ 7563 w 9964"/>
              <a:gd name="connsiteY100" fmla="*/ 9107 h 9990"/>
              <a:gd name="connsiteX101" fmla="*/ 7694 w 9964"/>
              <a:gd name="connsiteY101" fmla="*/ 9078 h 9990"/>
              <a:gd name="connsiteX102" fmla="*/ 7760 w 9964"/>
              <a:gd name="connsiteY102" fmla="*/ 8876 h 9990"/>
              <a:gd name="connsiteX103" fmla="*/ 7628 w 9964"/>
              <a:gd name="connsiteY103" fmla="*/ 8732 h 9990"/>
              <a:gd name="connsiteX104" fmla="*/ 7942 w 9964"/>
              <a:gd name="connsiteY104" fmla="*/ 8737 h 999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99" fmla="*/ 7358 w 10000"/>
              <a:gd name="connsiteY99" fmla="*/ 9202 h 10000"/>
              <a:gd name="connsiteX100" fmla="*/ 7590 w 10000"/>
              <a:gd name="connsiteY100" fmla="*/ 9116 h 10000"/>
              <a:gd name="connsiteX101" fmla="*/ 7722 w 10000"/>
              <a:gd name="connsiteY101" fmla="*/ 9087 h 10000"/>
              <a:gd name="connsiteX102" fmla="*/ 7788 w 10000"/>
              <a:gd name="connsiteY102" fmla="*/ 8885 h 10000"/>
              <a:gd name="connsiteX103" fmla="*/ 7656 w 10000"/>
              <a:gd name="connsiteY103" fmla="*/ 8741 h 10000"/>
              <a:gd name="connsiteX104" fmla="*/ 7971 w 10000"/>
              <a:gd name="connsiteY104" fmla="*/ 8746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99" fmla="*/ 7358 w 10000"/>
              <a:gd name="connsiteY99" fmla="*/ 9202 h 10000"/>
              <a:gd name="connsiteX100" fmla="*/ 7590 w 10000"/>
              <a:gd name="connsiteY100" fmla="*/ 9116 h 10000"/>
              <a:gd name="connsiteX101" fmla="*/ 7722 w 10000"/>
              <a:gd name="connsiteY101" fmla="*/ 9087 h 10000"/>
              <a:gd name="connsiteX102" fmla="*/ 7788 w 10000"/>
              <a:gd name="connsiteY102" fmla="*/ 8885 h 10000"/>
              <a:gd name="connsiteX103" fmla="*/ 7656 w 10000"/>
              <a:gd name="connsiteY103" fmla="*/ 8741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99" fmla="*/ 7358 w 10000"/>
              <a:gd name="connsiteY99" fmla="*/ 9202 h 10000"/>
              <a:gd name="connsiteX100" fmla="*/ 7590 w 10000"/>
              <a:gd name="connsiteY100" fmla="*/ 9116 h 10000"/>
              <a:gd name="connsiteX101" fmla="*/ 7722 w 10000"/>
              <a:gd name="connsiteY101" fmla="*/ 9087 h 10000"/>
              <a:gd name="connsiteX102" fmla="*/ 7788 w 10000"/>
              <a:gd name="connsiteY102" fmla="*/ 8885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99" fmla="*/ 7358 w 10000"/>
              <a:gd name="connsiteY99" fmla="*/ 9202 h 10000"/>
              <a:gd name="connsiteX100" fmla="*/ 7590 w 10000"/>
              <a:gd name="connsiteY100" fmla="*/ 9116 h 10000"/>
              <a:gd name="connsiteX101" fmla="*/ 7722 w 10000"/>
              <a:gd name="connsiteY101" fmla="*/ 9087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99" fmla="*/ 7358 w 10000"/>
              <a:gd name="connsiteY99" fmla="*/ 9202 h 10000"/>
              <a:gd name="connsiteX100" fmla="*/ 7590 w 10000"/>
              <a:gd name="connsiteY100" fmla="*/ 9116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99" fmla="*/ 7358 w 10000"/>
              <a:gd name="connsiteY99" fmla="*/ 9202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98" fmla="*/ 7458 w 10000"/>
              <a:gd name="connsiteY98" fmla="*/ 9346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97" fmla="*/ 7358 w 10000"/>
              <a:gd name="connsiteY97" fmla="*/ 9578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96" fmla="*/ 7194 w 10000"/>
              <a:gd name="connsiteY96" fmla="*/ 9664 h 10000"/>
              <a:gd name="connsiteX0" fmla="*/ 7431 w 10000"/>
              <a:gd name="connsiteY0" fmla="*/ 8024 h 10000"/>
              <a:gd name="connsiteX1" fmla="*/ 7392 w 10000"/>
              <a:gd name="connsiteY1" fmla="*/ 7904 h 10000"/>
              <a:gd name="connsiteX2" fmla="*/ 7227 w 10000"/>
              <a:gd name="connsiteY2" fmla="*/ 7674 h 10000"/>
              <a:gd name="connsiteX3" fmla="*/ 7061 w 10000"/>
              <a:gd name="connsiteY3" fmla="*/ 7760 h 10000"/>
              <a:gd name="connsiteX4" fmla="*/ 6897 w 10000"/>
              <a:gd name="connsiteY4" fmla="*/ 7703 h 10000"/>
              <a:gd name="connsiteX5" fmla="*/ 6633 w 10000"/>
              <a:gd name="connsiteY5" fmla="*/ 7442 h 10000"/>
              <a:gd name="connsiteX6" fmla="*/ 6699 w 10000"/>
              <a:gd name="connsiteY6" fmla="*/ 7269 h 10000"/>
              <a:gd name="connsiteX7" fmla="*/ 6500 w 10000"/>
              <a:gd name="connsiteY7" fmla="*/ 6981 h 10000"/>
              <a:gd name="connsiteX8" fmla="*/ 6104 w 10000"/>
              <a:gd name="connsiteY8" fmla="*/ 7068 h 10000"/>
              <a:gd name="connsiteX9" fmla="*/ 6170 w 10000"/>
              <a:gd name="connsiteY9" fmla="*/ 6866 h 10000"/>
              <a:gd name="connsiteX10" fmla="*/ 5939 w 10000"/>
              <a:gd name="connsiteY10" fmla="*/ 6808 h 10000"/>
              <a:gd name="connsiteX11" fmla="*/ 5742 w 10000"/>
              <a:gd name="connsiteY11" fmla="*/ 6520 h 10000"/>
              <a:gd name="connsiteX12" fmla="*/ 5345 w 10000"/>
              <a:gd name="connsiteY12" fmla="*/ 6288 h 10000"/>
              <a:gd name="connsiteX13" fmla="*/ 5015 w 10000"/>
              <a:gd name="connsiteY13" fmla="*/ 6288 h 10000"/>
              <a:gd name="connsiteX14" fmla="*/ 4751 w 10000"/>
              <a:gd name="connsiteY14" fmla="*/ 6087 h 10000"/>
              <a:gd name="connsiteX15" fmla="*/ 4322 w 10000"/>
              <a:gd name="connsiteY15" fmla="*/ 5683 h 10000"/>
              <a:gd name="connsiteX16" fmla="*/ 3694 w 10000"/>
              <a:gd name="connsiteY16" fmla="*/ 4962 h 10000"/>
              <a:gd name="connsiteX17" fmla="*/ 3166 w 10000"/>
              <a:gd name="connsiteY17" fmla="*/ 4413 h 10000"/>
              <a:gd name="connsiteX18" fmla="*/ 2869 w 10000"/>
              <a:gd name="connsiteY18" fmla="*/ 4269 h 10000"/>
              <a:gd name="connsiteX19" fmla="*/ 2902 w 10000"/>
              <a:gd name="connsiteY19" fmla="*/ 3808 h 10000"/>
              <a:gd name="connsiteX20" fmla="*/ 2770 w 10000"/>
              <a:gd name="connsiteY20" fmla="*/ 3115 h 10000"/>
              <a:gd name="connsiteX21" fmla="*/ 2374 w 10000"/>
              <a:gd name="connsiteY21" fmla="*/ 2971 h 10000"/>
              <a:gd name="connsiteX22" fmla="*/ 1912 w 10000"/>
              <a:gd name="connsiteY22" fmla="*/ 2597 h 10000"/>
              <a:gd name="connsiteX23" fmla="*/ 1515 w 10000"/>
              <a:gd name="connsiteY23" fmla="*/ 2510 h 10000"/>
              <a:gd name="connsiteX24" fmla="*/ 1252 w 10000"/>
              <a:gd name="connsiteY24" fmla="*/ 2712 h 10000"/>
              <a:gd name="connsiteX25" fmla="*/ 988 w 10000"/>
              <a:gd name="connsiteY25" fmla="*/ 2942 h 10000"/>
              <a:gd name="connsiteX26" fmla="*/ 393 w 10000"/>
              <a:gd name="connsiteY26" fmla="*/ 3058 h 10000"/>
              <a:gd name="connsiteX27" fmla="*/ 327 w 10000"/>
              <a:gd name="connsiteY27" fmla="*/ 3058 h 10000"/>
              <a:gd name="connsiteX28" fmla="*/ 393 w 10000"/>
              <a:gd name="connsiteY28" fmla="*/ 2942 h 10000"/>
              <a:gd name="connsiteX29" fmla="*/ 657 w 10000"/>
              <a:gd name="connsiteY29" fmla="*/ 2625 h 10000"/>
              <a:gd name="connsiteX30" fmla="*/ 30 w 10000"/>
              <a:gd name="connsiteY30" fmla="*/ 2307 h 10000"/>
              <a:gd name="connsiteX31" fmla="*/ 30 w 10000"/>
              <a:gd name="connsiteY31" fmla="*/ 1587 h 10000"/>
              <a:gd name="connsiteX32" fmla="*/ 427 w 10000"/>
              <a:gd name="connsiteY32" fmla="*/ 1269 h 10000"/>
              <a:gd name="connsiteX33" fmla="*/ 195 w 10000"/>
              <a:gd name="connsiteY33" fmla="*/ 837 h 10000"/>
              <a:gd name="connsiteX34" fmla="*/ 492 w 10000"/>
              <a:gd name="connsiteY34" fmla="*/ 664 h 10000"/>
              <a:gd name="connsiteX35" fmla="*/ 789 w 10000"/>
              <a:gd name="connsiteY35" fmla="*/ 721 h 10000"/>
              <a:gd name="connsiteX36" fmla="*/ 1119 w 10000"/>
              <a:gd name="connsiteY36" fmla="*/ 693 h 10000"/>
              <a:gd name="connsiteX37" fmla="*/ 1549 w 10000"/>
              <a:gd name="connsiteY37" fmla="*/ 259 h 10000"/>
              <a:gd name="connsiteX38" fmla="*/ 1779 w 10000"/>
              <a:gd name="connsiteY38" fmla="*/ 317 h 10000"/>
              <a:gd name="connsiteX39" fmla="*/ 1846 w 10000"/>
              <a:gd name="connsiteY39" fmla="*/ 635 h 10000"/>
              <a:gd name="connsiteX40" fmla="*/ 1978 w 10000"/>
              <a:gd name="connsiteY40" fmla="*/ 1038 h 10000"/>
              <a:gd name="connsiteX41" fmla="*/ 2209 w 10000"/>
              <a:gd name="connsiteY41" fmla="*/ 952 h 10000"/>
              <a:gd name="connsiteX42" fmla="*/ 2440 w 10000"/>
              <a:gd name="connsiteY42" fmla="*/ 346 h 10000"/>
              <a:gd name="connsiteX43" fmla="*/ 2836 w 10000"/>
              <a:gd name="connsiteY43" fmla="*/ 577 h 10000"/>
              <a:gd name="connsiteX44" fmla="*/ 3166 w 10000"/>
              <a:gd name="connsiteY44" fmla="*/ 461 h 10000"/>
              <a:gd name="connsiteX45" fmla="*/ 3463 w 10000"/>
              <a:gd name="connsiteY45" fmla="*/ 86 h 10000"/>
              <a:gd name="connsiteX46" fmla="*/ 3827 w 10000"/>
              <a:gd name="connsiteY46" fmla="*/ 202 h 10000"/>
              <a:gd name="connsiteX47" fmla="*/ 4222 w 10000"/>
              <a:gd name="connsiteY47" fmla="*/ 0 h 10000"/>
              <a:gd name="connsiteX48" fmla="*/ 4817 w 10000"/>
              <a:gd name="connsiteY48" fmla="*/ 29 h 10000"/>
              <a:gd name="connsiteX49" fmla="*/ 5015 w 10000"/>
              <a:gd name="connsiteY49" fmla="*/ 375 h 10000"/>
              <a:gd name="connsiteX50" fmla="*/ 5709 w 10000"/>
              <a:gd name="connsiteY50" fmla="*/ 606 h 10000"/>
              <a:gd name="connsiteX51" fmla="*/ 5973 w 10000"/>
              <a:gd name="connsiteY51" fmla="*/ 750 h 10000"/>
              <a:gd name="connsiteX52" fmla="*/ 5906 w 10000"/>
              <a:gd name="connsiteY52" fmla="*/ 923 h 10000"/>
              <a:gd name="connsiteX53" fmla="*/ 5906 w 10000"/>
              <a:gd name="connsiteY53" fmla="*/ 1240 h 10000"/>
              <a:gd name="connsiteX54" fmla="*/ 5873 w 10000"/>
              <a:gd name="connsiteY54" fmla="*/ 1529 h 10000"/>
              <a:gd name="connsiteX55" fmla="*/ 5510 w 10000"/>
              <a:gd name="connsiteY55" fmla="*/ 1587 h 10000"/>
              <a:gd name="connsiteX56" fmla="*/ 4849 w 10000"/>
              <a:gd name="connsiteY56" fmla="*/ 1789 h 10000"/>
              <a:gd name="connsiteX57" fmla="*/ 4784 w 10000"/>
              <a:gd name="connsiteY57" fmla="*/ 2048 h 10000"/>
              <a:gd name="connsiteX58" fmla="*/ 4949 w 10000"/>
              <a:gd name="connsiteY58" fmla="*/ 2279 h 10000"/>
              <a:gd name="connsiteX59" fmla="*/ 4784 w 10000"/>
              <a:gd name="connsiteY59" fmla="*/ 2452 h 10000"/>
              <a:gd name="connsiteX60" fmla="*/ 4652 w 10000"/>
              <a:gd name="connsiteY60" fmla="*/ 2539 h 10000"/>
              <a:gd name="connsiteX61" fmla="*/ 4751 w 10000"/>
              <a:gd name="connsiteY61" fmla="*/ 3115 h 10000"/>
              <a:gd name="connsiteX62" fmla="*/ 5279 w 10000"/>
              <a:gd name="connsiteY62" fmla="*/ 3520 h 10000"/>
              <a:gd name="connsiteX63" fmla="*/ 5675 w 10000"/>
              <a:gd name="connsiteY63" fmla="*/ 3808 h 10000"/>
              <a:gd name="connsiteX64" fmla="*/ 5939 w 10000"/>
              <a:gd name="connsiteY64" fmla="*/ 4702 h 10000"/>
              <a:gd name="connsiteX65" fmla="*/ 6731 w 10000"/>
              <a:gd name="connsiteY65" fmla="*/ 5510 h 10000"/>
              <a:gd name="connsiteX66" fmla="*/ 7260 w 10000"/>
              <a:gd name="connsiteY66" fmla="*/ 5683 h 10000"/>
              <a:gd name="connsiteX67" fmla="*/ 7854 w 10000"/>
              <a:gd name="connsiteY67" fmla="*/ 5712 h 10000"/>
              <a:gd name="connsiteX68" fmla="*/ 7921 w 10000"/>
              <a:gd name="connsiteY68" fmla="*/ 5914 h 10000"/>
              <a:gd name="connsiteX69" fmla="*/ 7623 w 10000"/>
              <a:gd name="connsiteY69" fmla="*/ 6087 h 10000"/>
              <a:gd name="connsiteX70" fmla="*/ 8548 w 10000"/>
              <a:gd name="connsiteY70" fmla="*/ 6606 h 10000"/>
              <a:gd name="connsiteX71" fmla="*/ 9109 w 10000"/>
              <a:gd name="connsiteY71" fmla="*/ 6923 h 10000"/>
              <a:gd name="connsiteX72" fmla="*/ 9505 w 10000"/>
              <a:gd name="connsiteY72" fmla="*/ 7096 h 10000"/>
              <a:gd name="connsiteX73" fmla="*/ 9637 w 10000"/>
              <a:gd name="connsiteY73" fmla="*/ 7298 h 10000"/>
              <a:gd name="connsiteX74" fmla="*/ 10000 w 10000"/>
              <a:gd name="connsiteY74" fmla="*/ 7703 h 10000"/>
              <a:gd name="connsiteX75" fmla="*/ 9901 w 10000"/>
              <a:gd name="connsiteY75" fmla="*/ 8048 h 10000"/>
              <a:gd name="connsiteX76" fmla="*/ 9703 w 10000"/>
              <a:gd name="connsiteY76" fmla="*/ 8048 h 10000"/>
              <a:gd name="connsiteX77" fmla="*/ 9505 w 10000"/>
              <a:gd name="connsiteY77" fmla="*/ 7818 h 10000"/>
              <a:gd name="connsiteX78" fmla="*/ 9406 w 10000"/>
              <a:gd name="connsiteY78" fmla="*/ 7558 h 10000"/>
              <a:gd name="connsiteX79" fmla="*/ 9076 w 10000"/>
              <a:gd name="connsiteY79" fmla="*/ 7501 h 10000"/>
              <a:gd name="connsiteX80" fmla="*/ 8712 w 10000"/>
              <a:gd name="connsiteY80" fmla="*/ 7269 h 10000"/>
              <a:gd name="connsiteX81" fmla="*/ 8316 w 10000"/>
              <a:gd name="connsiteY81" fmla="*/ 7587 h 10000"/>
              <a:gd name="connsiteX82" fmla="*/ 8184 w 10000"/>
              <a:gd name="connsiteY82" fmla="*/ 7847 h 10000"/>
              <a:gd name="connsiteX83" fmla="*/ 8085 w 10000"/>
              <a:gd name="connsiteY83" fmla="*/ 8048 h 10000"/>
              <a:gd name="connsiteX84" fmla="*/ 8349 w 10000"/>
              <a:gd name="connsiteY84" fmla="*/ 8192 h 10000"/>
              <a:gd name="connsiteX85" fmla="*/ 8679 w 10000"/>
              <a:gd name="connsiteY85" fmla="*/ 8423 h 10000"/>
              <a:gd name="connsiteX86" fmla="*/ 8646 w 10000"/>
              <a:gd name="connsiteY86" fmla="*/ 8683 h 10000"/>
              <a:gd name="connsiteX87" fmla="*/ 8745 w 10000"/>
              <a:gd name="connsiteY87" fmla="*/ 8856 h 10000"/>
              <a:gd name="connsiteX88" fmla="*/ 8613 w 10000"/>
              <a:gd name="connsiteY88" fmla="*/ 9000 h 10000"/>
              <a:gd name="connsiteX89" fmla="*/ 8283 w 10000"/>
              <a:gd name="connsiteY89" fmla="*/ 9000 h 10000"/>
              <a:gd name="connsiteX90" fmla="*/ 8118 w 10000"/>
              <a:gd name="connsiteY90" fmla="*/ 9260 h 10000"/>
              <a:gd name="connsiteX91" fmla="*/ 8085 w 10000"/>
              <a:gd name="connsiteY91" fmla="*/ 9520 h 10000"/>
              <a:gd name="connsiteX92" fmla="*/ 7854 w 10000"/>
              <a:gd name="connsiteY92" fmla="*/ 9607 h 10000"/>
              <a:gd name="connsiteX93" fmla="*/ 7689 w 10000"/>
              <a:gd name="connsiteY93" fmla="*/ 9779 h 10000"/>
              <a:gd name="connsiteX94" fmla="*/ 7590 w 10000"/>
              <a:gd name="connsiteY94" fmla="*/ 9981 h 10000"/>
              <a:gd name="connsiteX95" fmla="*/ 7194 w 10000"/>
              <a:gd name="connsiteY95" fmla="*/ 9952 h 10000"/>
              <a:gd name="connsiteX0" fmla="*/ 7431 w 10000"/>
              <a:gd name="connsiteY0" fmla="*/ 8024 h 9981"/>
              <a:gd name="connsiteX1" fmla="*/ 7392 w 10000"/>
              <a:gd name="connsiteY1" fmla="*/ 7904 h 9981"/>
              <a:gd name="connsiteX2" fmla="*/ 7227 w 10000"/>
              <a:gd name="connsiteY2" fmla="*/ 7674 h 9981"/>
              <a:gd name="connsiteX3" fmla="*/ 7061 w 10000"/>
              <a:gd name="connsiteY3" fmla="*/ 7760 h 9981"/>
              <a:gd name="connsiteX4" fmla="*/ 6897 w 10000"/>
              <a:gd name="connsiteY4" fmla="*/ 7703 h 9981"/>
              <a:gd name="connsiteX5" fmla="*/ 6633 w 10000"/>
              <a:gd name="connsiteY5" fmla="*/ 7442 h 9981"/>
              <a:gd name="connsiteX6" fmla="*/ 6699 w 10000"/>
              <a:gd name="connsiteY6" fmla="*/ 7269 h 9981"/>
              <a:gd name="connsiteX7" fmla="*/ 6500 w 10000"/>
              <a:gd name="connsiteY7" fmla="*/ 6981 h 9981"/>
              <a:gd name="connsiteX8" fmla="*/ 6104 w 10000"/>
              <a:gd name="connsiteY8" fmla="*/ 7068 h 9981"/>
              <a:gd name="connsiteX9" fmla="*/ 6170 w 10000"/>
              <a:gd name="connsiteY9" fmla="*/ 6866 h 9981"/>
              <a:gd name="connsiteX10" fmla="*/ 5939 w 10000"/>
              <a:gd name="connsiteY10" fmla="*/ 6808 h 9981"/>
              <a:gd name="connsiteX11" fmla="*/ 5742 w 10000"/>
              <a:gd name="connsiteY11" fmla="*/ 6520 h 9981"/>
              <a:gd name="connsiteX12" fmla="*/ 5345 w 10000"/>
              <a:gd name="connsiteY12" fmla="*/ 6288 h 9981"/>
              <a:gd name="connsiteX13" fmla="*/ 5015 w 10000"/>
              <a:gd name="connsiteY13" fmla="*/ 6288 h 9981"/>
              <a:gd name="connsiteX14" fmla="*/ 4751 w 10000"/>
              <a:gd name="connsiteY14" fmla="*/ 6087 h 9981"/>
              <a:gd name="connsiteX15" fmla="*/ 4322 w 10000"/>
              <a:gd name="connsiteY15" fmla="*/ 5683 h 9981"/>
              <a:gd name="connsiteX16" fmla="*/ 3694 w 10000"/>
              <a:gd name="connsiteY16" fmla="*/ 4962 h 9981"/>
              <a:gd name="connsiteX17" fmla="*/ 3166 w 10000"/>
              <a:gd name="connsiteY17" fmla="*/ 4413 h 9981"/>
              <a:gd name="connsiteX18" fmla="*/ 2869 w 10000"/>
              <a:gd name="connsiteY18" fmla="*/ 4269 h 9981"/>
              <a:gd name="connsiteX19" fmla="*/ 2902 w 10000"/>
              <a:gd name="connsiteY19" fmla="*/ 3808 h 9981"/>
              <a:gd name="connsiteX20" fmla="*/ 2770 w 10000"/>
              <a:gd name="connsiteY20" fmla="*/ 3115 h 9981"/>
              <a:gd name="connsiteX21" fmla="*/ 2374 w 10000"/>
              <a:gd name="connsiteY21" fmla="*/ 2971 h 9981"/>
              <a:gd name="connsiteX22" fmla="*/ 1912 w 10000"/>
              <a:gd name="connsiteY22" fmla="*/ 2597 h 9981"/>
              <a:gd name="connsiteX23" fmla="*/ 1515 w 10000"/>
              <a:gd name="connsiteY23" fmla="*/ 2510 h 9981"/>
              <a:gd name="connsiteX24" fmla="*/ 1252 w 10000"/>
              <a:gd name="connsiteY24" fmla="*/ 2712 h 9981"/>
              <a:gd name="connsiteX25" fmla="*/ 988 w 10000"/>
              <a:gd name="connsiteY25" fmla="*/ 2942 h 9981"/>
              <a:gd name="connsiteX26" fmla="*/ 393 w 10000"/>
              <a:gd name="connsiteY26" fmla="*/ 3058 h 9981"/>
              <a:gd name="connsiteX27" fmla="*/ 327 w 10000"/>
              <a:gd name="connsiteY27" fmla="*/ 3058 h 9981"/>
              <a:gd name="connsiteX28" fmla="*/ 393 w 10000"/>
              <a:gd name="connsiteY28" fmla="*/ 2942 h 9981"/>
              <a:gd name="connsiteX29" fmla="*/ 657 w 10000"/>
              <a:gd name="connsiteY29" fmla="*/ 2625 h 9981"/>
              <a:gd name="connsiteX30" fmla="*/ 30 w 10000"/>
              <a:gd name="connsiteY30" fmla="*/ 2307 h 9981"/>
              <a:gd name="connsiteX31" fmla="*/ 30 w 10000"/>
              <a:gd name="connsiteY31" fmla="*/ 1587 h 9981"/>
              <a:gd name="connsiteX32" fmla="*/ 427 w 10000"/>
              <a:gd name="connsiteY32" fmla="*/ 1269 h 9981"/>
              <a:gd name="connsiteX33" fmla="*/ 195 w 10000"/>
              <a:gd name="connsiteY33" fmla="*/ 837 h 9981"/>
              <a:gd name="connsiteX34" fmla="*/ 492 w 10000"/>
              <a:gd name="connsiteY34" fmla="*/ 664 h 9981"/>
              <a:gd name="connsiteX35" fmla="*/ 789 w 10000"/>
              <a:gd name="connsiteY35" fmla="*/ 721 h 9981"/>
              <a:gd name="connsiteX36" fmla="*/ 1119 w 10000"/>
              <a:gd name="connsiteY36" fmla="*/ 693 h 9981"/>
              <a:gd name="connsiteX37" fmla="*/ 1549 w 10000"/>
              <a:gd name="connsiteY37" fmla="*/ 259 h 9981"/>
              <a:gd name="connsiteX38" fmla="*/ 1779 w 10000"/>
              <a:gd name="connsiteY38" fmla="*/ 317 h 9981"/>
              <a:gd name="connsiteX39" fmla="*/ 1846 w 10000"/>
              <a:gd name="connsiteY39" fmla="*/ 635 h 9981"/>
              <a:gd name="connsiteX40" fmla="*/ 1978 w 10000"/>
              <a:gd name="connsiteY40" fmla="*/ 1038 h 9981"/>
              <a:gd name="connsiteX41" fmla="*/ 2209 w 10000"/>
              <a:gd name="connsiteY41" fmla="*/ 952 h 9981"/>
              <a:gd name="connsiteX42" fmla="*/ 2440 w 10000"/>
              <a:gd name="connsiteY42" fmla="*/ 346 h 9981"/>
              <a:gd name="connsiteX43" fmla="*/ 2836 w 10000"/>
              <a:gd name="connsiteY43" fmla="*/ 577 h 9981"/>
              <a:gd name="connsiteX44" fmla="*/ 3166 w 10000"/>
              <a:gd name="connsiteY44" fmla="*/ 461 h 9981"/>
              <a:gd name="connsiteX45" fmla="*/ 3463 w 10000"/>
              <a:gd name="connsiteY45" fmla="*/ 86 h 9981"/>
              <a:gd name="connsiteX46" fmla="*/ 3827 w 10000"/>
              <a:gd name="connsiteY46" fmla="*/ 202 h 9981"/>
              <a:gd name="connsiteX47" fmla="*/ 4222 w 10000"/>
              <a:gd name="connsiteY47" fmla="*/ 0 h 9981"/>
              <a:gd name="connsiteX48" fmla="*/ 4817 w 10000"/>
              <a:gd name="connsiteY48" fmla="*/ 29 h 9981"/>
              <a:gd name="connsiteX49" fmla="*/ 5015 w 10000"/>
              <a:gd name="connsiteY49" fmla="*/ 375 h 9981"/>
              <a:gd name="connsiteX50" fmla="*/ 5709 w 10000"/>
              <a:gd name="connsiteY50" fmla="*/ 606 h 9981"/>
              <a:gd name="connsiteX51" fmla="*/ 5973 w 10000"/>
              <a:gd name="connsiteY51" fmla="*/ 750 h 9981"/>
              <a:gd name="connsiteX52" fmla="*/ 5906 w 10000"/>
              <a:gd name="connsiteY52" fmla="*/ 923 h 9981"/>
              <a:gd name="connsiteX53" fmla="*/ 5906 w 10000"/>
              <a:gd name="connsiteY53" fmla="*/ 1240 h 9981"/>
              <a:gd name="connsiteX54" fmla="*/ 5873 w 10000"/>
              <a:gd name="connsiteY54" fmla="*/ 1529 h 9981"/>
              <a:gd name="connsiteX55" fmla="*/ 5510 w 10000"/>
              <a:gd name="connsiteY55" fmla="*/ 1587 h 9981"/>
              <a:gd name="connsiteX56" fmla="*/ 4849 w 10000"/>
              <a:gd name="connsiteY56" fmla="*/ 1789 h 9981"/>
              <a:gd name="connsiteX57" fmla="*/ 4784 w 10000"/>
              <a:gd name="connsiteY57" fmla="*/ 2048 h 9981"/>
              <a:gd name="connsiteX58" fmla="*/ 4949 w 10000"/>
              <a:gd name="connsiteY58" fmla="*/ 2279 h 9981"/>
              <a:gd name="connsiteX59" fmla="*/ 4784 w 10000"/>
              <a:gd name="connsiteY59" fmla="*/ 2452 h 9981"/>
              <a:gd name="connsiteX60" fmla="*/ 4652 w 10000"/>
              <a:gd name="connsiteY60" fmla="*/ 2539 h 9981"/>
              <a:gd name="connsiteX61" fmla="*/ 4751 w 10000"/>
              <a:gd name="connsiteY61" fmla="*/ 3115 h 9981"/>
              <a:gd name="connsiteX62" fmla="*/ 5279 w 10000"/>
              <a:gd name="connsiteY62" fmla="*/ 3520 h 9981"/>
              <a:gd name="connsiteX63" fmla="*/ 5675 w 10000"/>
              <a:gd name="connsiteY63" fmla="*/ 3808 h 9981"/>
              <a:gd name="connsiteX64" fmla="*/ 5939 w 10000"/>
              <a:gd name="connsiteY64" fmla="*/ 4702 h 9981"/>
              <a:gd name="connsiteX65" fmla="*/ 6731 w 10000"/>
              <a:gd name="connsiteY65" fmla="*/ 5510 h 9981"/>
              <a:gd name="connsiteX66" fmla="*/ 7260 w 10000"/>
              <a:gd name="connsiteY66" fmla="*/ 5683 h 9981"/>
              <a:gd name="connsiteX67" fmla="*/ 7854 w 10000"/>
              <a:gd name="connsiteY67" fmla="*/ 5712 h 9981"/>
              <a:gd name="connsiteX68" fmla="*/ 7921 w 10000"/>
              <a:gd name="connsiteY68" fmla="*/ 5914 h 9981"/>
              <a:gd name="connsiteX69" fmla="*/ 7623 w 10000"/>
              <a:gd name="connsiteY69" fmla="*/ 6087 h 9981"/>
              <a:gd name="connsiteX70" fmla="*/ 8548 w 10000"/>
              <a:gd name="connsiteY70" fmla="*/ 6606 h 9981"/>
              <a:gd name="connsiteX71" fmla="*/ 9109 w 10000"/>
              <a:gd name="connsiteY71" fmla="*/ 6923 h 9981"/>
              <a:gd name="connsiteX72" fmla="*/ 9505 w 10000"/>
              <a:gd name="connsiteY72" fmla="*/ 7096 h 9981"/>
              <a:gd name="connsiteX73" fmla="*/ 9637 w 10000"/>
              <a:gd name="connsiteY73" fmla="*/ 7298 h 9981"/>
              <a:gd name="connsiteX74" fmla="*/ 10000 w 10000"/>
              <a:gd name="connsiteY74" fmla="*/ 7703 h 9981"/>
              <a:gd name="connsiteX75" fmla="*/ 9901 w 10000"/>
              <a:gd name="connsiteY75" fmla="*/ 8048 h 9981"/>
              <a:gd name="connsiteX76" fmla="*/ 9703 w 10000"/>
              <a:gd name="connsiteY76" fmla="*/ 8048 h 9981"/>
              <a:gd name="connsiteX77" fmla="*/ 9505 w 10000"/>
              <a:gd name="connsiteY77" fmla="*/ 7818 h 9981"/>
              <a:gd name="connsiteX78" fmla="*/ 9406 w 10000"/>
              <a:gd name="connsiteY78" fmla="*/ 7558 h 9981"/>
              <a:gd name="connsiteX79" fmla="*/ 9076 w 10000"/>
              <a:gd name="connsiteY79" fmla="*/ 7501 h 9981"/>
              <a:gd name="connsiteX80" fmla="*/ 8712 w 10000"/>
              <a:gd name="connsiteY80" fmla="*/ 7269 h 9981"/>
              <a:gd name="connsiteX81" fmla="*/ 8316 w 10000"/>
              <a:gd name="connsiteY81" fmla="*/ 7587 h 9981"/>
              <a:gd name="connsiteX82" fmla="*/ 8184 w 10000"/>
              <a:gd name="connsiteY82" fmla="*/ 7847 h 9981"/>
              <a:gd name="connsiteX83" fmla="*/ 8085 w 10000"/>
              <a:gd name="connsiteY83" fmla="*/ 8048 h 9981"/>
              <a:gd name="connsiteX84" fmla="*/ 8349 w 10000"/>
              <a:gd name="connsiteY84" fmla="*/ 8192 h 9981"/>
              <a:gd name="connsiteX85" fmla="*/ 8679 w 10000"/>
              <a:gd name="connsiteY85" fmla="*/ 8423 h 9981"/>
              <a:gd name="connsiteX86" fmla="*/ 8646 w 10000"/>
              <a:gd name="connsiteY86" fmla="*/ 8683 h 9981"/>
              <a:gd name="connsiteX87" fmla="*/ 8745 w 10000"/>
              <a:gd name="connsiteY87" fmla="*/ 8856 h 9981"/>
              <a:gd name="connsiteX88" fmla="*/ 8613 w 10000"/>
              <a:gd name="connsiteY88" fmla="*/ 9000 h 9981"/>
              <a:gd name="connsiteX89" fmla="*/ 8283 w 10000"/>
              <a:gd name="connsiteY89" fmla="*/ 9000 h 9981"/>
              <a:gd name="connsiteX90" fmla="*/ 8118 w 10000"/>
              <a:gd name="connsiteY90" fmla="*/ 9260 h 9981"/>
              <a:gd name="connsiteX91" fmla="*/ 8085 w 10000"/>
              <a:gd name="connsiteY91" fmla="*/ 9520 h 9981"/>
              <a:gd name="connsiteX92" fmla="*/ 7854 w 10000"/>
              <a:gd name="connsiteY92" fmla="*/ 9607 h 9981"/>
              <a:gd name="connsiteX93" fmla="*/ 7689 w 10000"/>
              <a:gd name="connsiteY93" fmla="*/ 9779 h 9981"/>
              <a:gd name="connsiteX94" fmla="*/ 7590 w 10000"/>
              <a:gd name="connsiteY94" fmla="*/ 9981 h 9981"/>
              <a:gd name="connsiteX0" fmla="*/ 7431 w 10000"/>
              <a:gd name="connsiteY0" fmla="*/ 8039 h 9798"/>
              <a:gd name="connsiteX1" fmla="*/ 7392 w 10000"/>
              <a:gd name="connsiteY1" fmla="*/ 7919 h 9798"/>
              <a:gd name="connsiteX2" fmla="*/ 7227 w 10000"/>
              <a:gd name="connsiteY2" fmla="*/ 7689 h 9798"/>
              <a:gd name="connsiteX3" fmla="*/ 7061 w 10000"/>
              <a:gd name="connsiteY3" fmla="*/ 7775 h 9798"/>
              <a:gd name="connsiteX4" fmla="*/ 6897 w 10000"/>
              <a:gd name="connsiteY4" fmla="*/ 7718 h 9798"/>
              <a:gd name="connsiteX5" fmla="*/ 6633 w 10000"/>
              <a:gd name="connsiteY5" fmla="*/ 7456 h 9798"/>
              <a:gd name="connsiteX6" fmla="*/ 6699 w 10000"/>
              <a:gd name="connsiteY6" fmla="*/ 7283 h 9798"/>
              <a:gd name="connsiteX7" fmla="*/ 6500 w 10000"/>
              <a:gd name="connsiteY7" fmla="*/ 6994 h 9798"/>
              <a:gd name="connsiteX8" fmla="*/ 6104 w 10000"/>
              <a:gd name="connsiteY8" fmla="*/ 7081 h 9798"/>
              <a:gd name="connsiteX9" fmla="*/ 6170 w 10000"/>
              <a:gd name="connsiteY9" fmla="*/ 6879 h 9798"/>
              <a:gd name="connsiteX10" fmla="*/ 5939 w 10000"/>
              <a:gd name="connsiteY10" fmla="*/ 6821 h 9798"/>
              <a:gd name="connsiteX11" fmla="*/ 5742 w 10000"/>
              <a:gd name="connsiteY11" fmla="*/ 6532 h 9798"/>
              <a:gd name="connsiteX12" fmla="*/ 5345 w 10000"/>
              <a:gd name="connsiteY12" fmla="*/ 6300 h 9798"/>
              <a:gd name="connsiteX13" fmla="*/ 5015 w 10000"/>
              <a:gd name="connsiteY13" fmla="*/ 6300 h 9798"/>
              <a:gd name="connsiteX14" fmla="*/ 4751 w 10000"/>
              <a:gd name="connsiteY14" fmla="*/ 6099 h 9798"/>
              <a:gd name="connsiteX15" fmla="*/ 4322 w 10000"/>
              <a:gd name="connsiteY15" fmla="*/ 5694 h 9798"/>
              <a:gd name="connsiteX16" fmla="*/ 3694 w 10000"/>
              <a:gd name="connsiteY16" fmla="*/ 4971 h 9798"/>
              <a:gd name="connsiteX17" fmla="*/ 3166 w 10000"/>
              <a:gd name="connsiteY17" fmla="*/ 4421 h 9798"/>
              <a:gd name="connsiteX18" fmla="*/ 2869 w 10000"/>
              <a:gd name="connsiteY18" fmla="*/ 4277 h 9798"/>
              <a:gd name="connsiteX19" fmla="*/ 2902 w 10000"/>
              <a:gd name="connsiteY19" fmla="*/ 3815 h 9798"/>
              <a:gd name="connsiteX20" fmla="*/ 2770 w 10000"/>
              <a:gd name="connsiteY20" fmla="*/ 3121 h 9798"/>
              <a:gd name="connsiteX21" fmla="*/ 2374 w 10000"/>
              <a:gd name="connsiteY21" fmla="*/ 2977 h 9798"/>
              <a:gd name="connsiteX22" fmla="*/ 1912 w 10000"/>
              <a:gd name="connsiteY22" fmla="*/ 2602 h 9798"/>
              <a:gd name="connsiteX23" fmla="*/ 1515 w 10000"/>
              <a:gd name="connsiteY23" fmla="*/ 2515 h 9798"/>
              <a:gd name="connsiteX24" fmla="*/ 1252 w 10000"/>
              <a:gd name="connsiteY24" fmla="*/ 2717 h 9798"/>
              <a:gd name="connsiteX25" fmla="*/ 988 w 10000"/>
              <a:gd name="connsiteY25" fmla="*/ 2948 h 9798"/>
              <a:gd name="connsiteX26" fmla="*/ 393 w 10000"/>
              <a:gd name="connsiteY26" fmla="*/ 3064 h 9798"/>
              <a:gd name="connsiteX27" fmla="*/ 327 w 10000"/>
              <a:gd name="connsiteY27" fmla="*/ 3064 h 9798"/>
              <a:gd name="connsiteX28" fmla="*/ 393 w 10000"/>
              <a:gd name="connsiteY28" fmla="*/ 2948 h 9798"/>
              <a:gd name="connsiteX29" fmla="*/ 657 w 10000"/>
              <a:gd name="connsiteY29" fmla="*/ 2630 h 9798"/>
              <a:gd name="connsiteX30" fmla="*/ 30 w 10000"/>
              <a:gd name="connsiteY30" fmla="*/ 2311 h 9798"/>
              <a:gd name="connsiteX31" fmla="*/ 30 w 10000"/>
              <a:gd name="connsiteY31" fmla="*/ 1590 h 9798"/>
              <a:gd name="connsiteX32" fmla="*/ 427 w 10000"/>
              <a:gd name="connsiteY32" fmla="*/ 1271 h 9798"/>
              <a:gd name="connsiteX33" fmla="*/ 195 w 10000"/>
              <a:gd name="connsiteY33" fmla="*/ 839 h 9798"/>
              <a:gd name="connsiteX34" fmla="*/ 492 w 10000"/>
              <a:gd name="connsiteY34" fmla="*/ 665 h 9798"/>
              <a:gd name="connsiteX35" fmla="*/ 789 w 10000"/>
              <a:gd name="connsiteY35" fmla="*/ 722 h 9798"/>
              <a:gd name="connsiteX36" fmla="*/ 1119 w 10000"/>
              <a:gd name="connsiteY36" fmla="*/ 694 h 9798"/>
              <a:gd name="connsiteX37" fmla="*/ 1549 w 10000"/>
              <a:gd name="connsiteY37" fmla="*/ 259 h 9798"/>
              <a:gd name="connsiteX38" fmla="*/ 1779 w 10000"/>
              <a:gd name="connsiteY38" fmla="*/ 318 h 9798"/>
              <a:gd name="connsiteX39" fmla="*/ 1846 w 10000"/>
              <a:gd name="connsiteY39" fmla="*/ 636 h 9798"/>
              <a:gd name="connsiteX40" fmla="*/ 1978 w 10000"/>
              <a:gd name="connsiteY40" fmla="*/ 1040 h 9798"/>
              <a:gd name="connsiteX41" fmla="*/ 2209 w 10000"/>
              <a:gd name="connsiteY41" fmla="*/ 954 h 9798"/>
              <a:gd name="connsiteX42" fmla="*/ 2440 w 10000"/>
              <a:gd name="connsiteY42" fmla="*/ 347 h 9798"/>
              <a:gd name="connsiteX43" fmla="*/ 2836 w 10000"/>
              <a:gd name="connsiteY43" fmla="*/ 578 h 9798"/>
              <a:gd name="connsiteX44" fmla="*/ 3166 w 10000"/>
              <a:gd name="connsiteY44" fmla="*/ 462 h 9798"/>
              <a:gd name="connsiteX45" fmla="*/ 3463 w 10000"/>
              <a:gd name="connsiteY45" fmla="*/ 86 h 9798"/>
              <a:gd name="connsiteX46" fmla="*/ 3827 w 10000"/>
              <a:gd name="connsiteY46" fmla="*/ 202 h 9798"/>
              <a:gd name="connsiteX47" fmla="*/ 4222 w 10000"/>
              <a:gd name="connsiteY47" fmla="*/ 0 h 9798"/>
              <a:gd name="connsiteX48" fmla="*/ 4817 w 10000"/>
              <a:gd name="connsiteY48" fmla="*/ 29 h 9798"/>
              <a:gd name="connsiteX49" fmla="*/ 5015 w 10000"/>
              <a:gd name="connsiteY49" fmla="*/ 376 h 9798"/>
              <a:gd name="connsiteX50" fmla="*/ 5709 w 10000"/>
              <a:gd name="connsiteY50" fmla="*/ 607 h 9798"/>
              <a:gd name="connsiteX51" fmla="*/ 5973 w 10000"/>
              <a:gd name="connsiteY51" fmla="*/ 751 h 9798"/>
              <a:gd name="connsiteX52" fmla="*/ 5906 w 10000"/>
              <a:gd name="connsiteY52" fmla="*/ 925 h 9798"/>
              <a:gd name="connsiteX53" fmla="*/ 5906 w 10000"/>
              <a:gd name="connsiteY53" fmla="*/ 1242 h 9798"/>
              <a:gd name="connsiteX54" fmla="*/ 5873 w 10000"/>
              <a:gd name="connsiteY54" fmla="*/ 1532 h 9798"/>
              <a:gd name="connsiteX55" fmla="*/ 5510 w 10000"/>
              <a:gd name="connsiteY55" fmla="*/ 1590 h 9798"/>
              <a:gd name="connsiteX56" fmla="*/ 4849 w 10000"/>
              <a:gd name="connsiteY56" fmla="*/ 1792 h 9798"/>
              <a:gd name="connsiteX57" fmla="*/ 4784 w 10000"/>
              <a:gd name="connsiteY57" fmla="*/ 2052 h 9798"/>
              <a:gd name="connsiteX58" fmla="*/ 4949 w 10000"/>
              <a:gd name="connsiteY58" fmla="*/ 2283 h 9798"/>
              <a:gd name="connsiteX59" fmla="*/ 4784 w 10000"/>
              <a:gd name="connsiteY59" fmla="*/ 2457 h 9798"/>
              <a:gd name="connsiteX60" fmla="*/ 4652 w 10000"/>
              <a:gd name="connsiteY60" fmla="*/ 2544 h 9798"/>
              <a:gd name="connsiteX61" fmla="*/ 4751 w 10000"/>
              <a:gd name="connsiteY61" fmla="*/ 3121 h 9798"/>
              <a:gd name="connsiteX62" fmla="*/ 5279 w 10000"/>
              <a:gd name="connsiteY62" fmla="*/ 3527 h 9798"/>
              <a:gd name="connsiteX63" fmla="*/ 5675 w 10000"/>
              <a:gd name="connsiteY63" fmla="*/ 3815 h 9798"/>
              <a:gd name="connsiteX64" fmla="*/ 5939 w 10000"/>
              <a:gd name="connsiteY64" fmla="*/ 4711 h 9798"/>
              <a:gd name="connsiteX65" fmla="*/ 6731 w 10000"/>
              <a:gd name="connsiteY65" fmla="*/ 5520 h 9798"/>
              <a:gd name="connsiteX66" fmla="*/ 7260 w 10000"/>
              <a:gd name="connsiteY66" fmla="*/ 5694 h 9798"/>
              <a:gd name="connsiteX67" fmla="*/ 7854 w 10000"/>
              <a:gd name="connsiteY67" fmla="*/ 5723 h 9798"/>
              <a:gd name="connsiteX68" fmla="*/ 7921 w 10000"/>
              <a:gd name="connsiteY68" fmla="*/ 5925 h 9798"/>
              <a:gd name="connsiteX69" fmla="*/ 7623 w 10000"/>
              <a:gd name="connsiteY69" fmla="*/ 6099 h 9798"/>
              <a:gd name="connsiteX70" fmla="*/ 8548 w 10000"/>
              <a:gd name="connsiteY70" fmla="*/ 6619 h 9798"/>
              <a:gd name="connsiteX71" fmla="*/ 9109 w 10000"/>
              <a:gd name="connsiteY71" fmla="*/ 6936 h 9798"/>
              <a:gd name="connsiteX72" fmla="*/ 9505 w 10000"/>
              <a:gd name="connsiteY72" fmla="*/ 7110 h 9798"/>
              <a:gd name="connsiteX73" fmla="*/ 9637 w 10000"/>
              <a:gd name="connsiteY73" fmla="*/ 7312 h 9798"/>
              <a:gd name="connsiteX74" fmla="*/ 10000 w 10000"/>
              <a:gd name="connsiteY74" fmla="*/ 7718 h 9798"/>
              <a:gd name="connsiteX75" fmla="*/ 9901 w 10000"/>
              <a:gd name="connsiteY75" fmla="*/ 8063 h 9798"/>
              <a:gd name="connsiteX76" fmla="*/ 9703 w 10000"/>
              <a:gd name="connsiteY76" fmla="*/ 8063 h 9798"/>
              <a:gd name="connsiteX77" fmla="*/ 9505 w 10000"/>
              <a:gd name="connsiteY77" fmla="*/ 7833 h 9798"/>
              <a:gd name="connsiteX78" fmla="*/ 9406 w 10000"/>
              <a:gd name="connsiteY78" fmla="*/ 7572 h 9798"/>
              <a:gd name="connsiteX79" fmla="*/ 9076 w 10000"/>
              <a:gd name="connsiteY79" fmla="*/ 7515 h 9798"/>
              <a:gd name="connsiteX80" fmla="*/ 8712 w 10000"/>
              <a:gd name="connsiteY80" fmla="*/ 7283 h 9798"/>
              <a:gd name="connsiteX81" fmla="*/ 8316 w 10000"/>
              <a:gd name="connsiteY81" fmla="*/ 7601 h 9798"/>
              <a:gd name="connsiteX82" fmla="*/ 8184 w 10000"/>
              <a:gd name="connsiteY82" fmla="*/ 7862 h 9798"/>
              <a:gd name="connsiteX83" fmla="*/ 8085 w 10000"/>
              <a:gd name="connsiteY83" fmla="*/ 8063 h 9798"/>
              <a:gd name="connsiteX84" fmla="*/ 8349 w 10000"/>
              <a:gd name="connsiteY84" fmla="*/ 8208 h 9798"/>
              <a:gd name="connsiteX85" fmla="*/ 8679 w 10000"/>
              <a:gd name="connsiteY85" fmla="*/ 8439 h 9798"/>
              <a:gd name="connsiteX86" fmla="*/ 8646 w 10000"/>
              <a:gd name="connsiteY86" fmla="*/ 8700 h 9798"/>
              <a:gd name="connsiteX87" fmla="*/ 8745 w 10000"/>
              <a:gd name="connsiteY87" fmla="*/ 8873 h 9798"/>
              <a:gd name="connsiteX88" fmla="*/ 8613 w 10000"/>
              <a:gd name="connsiteY88" fmla="*/ 9017 h 9798"/>
              <a:gd name="connsiteX89" fmla="*/ 8283 w 10000"/>
              <a:gd name="connsiteY89" fmla="*/ 9017 h 9798"/>
              <a:gd name="connsiteX90" fmla="*/ 8118 w 10000"/>
              <a:gd name="connsiteY90" fmla="*/ 9278 h 9798"/>
              <a:gd name="connsiteX91" fmla="*/ 8085 w 10000"/>
              <a:gd name="connsiteY91" fmla="*/ 9538 h 9798"/>
              <a:gd name="connsiteX92" fmla="*/ 7854 w 10000"/>
              <a:gd name="connsiteY92" fmla="*/ 9625 h 9798"/>
              <a:gd name="connsiteX93" fmla="*/ 7689 w 10000"/>
              <a:gd name="connsiteY93" fmla="*/ 9798 h 9798"/>
              <a:gd name="connsiteX0" fmla="*/ 7431 w 10000"/>
              <a:gd name="connsiteY0" fmla="*/ 8205 h 9823"/>
              <a:gd name="connsiteX1" fmla="*/ 7392 w 10000"/>
              <a:gd name="connsiteY1" fmla="*/ 8082 h 9823"/>
              <a:gd name="connsiteX2" fmla="*/ 7227 w 10000"/>
              <a:gd name="connsiteY2" fmla="*/ 7848 h 9823"/>
              <a:gd name="connsiteX3" fmla="*/ 7061 w 10000"/>
              <a:gd name="connsiteY3" fmla="*/ 7935 h 9823"/>
              <a:gd name="connsiteX4" fmla="*/ 6897 w 10000"/>
              <a:gd name="connsiteY4" fmla="*/ 7877 h 9823"/>
              <a:gd name="connsiteX5" fmla="*/ 6633 w 10000"/>
              <a:gd name="connsiteY5" fmla="*/ 7610 h 9823"/>
              <a:gd name="connsiteX6" fmla="*/ 6699 w 10000"/>
              <a:gd name="connsiteY6" fmla="*/ 7433 h 9823"/>
              <a:gd name="connsiteX7" fmla="*/ 6500 w 10000"/>
              <a:gd name="connsiteY7" fmla="*/ 7138 h 9823"/>
              <a:gd name="connsiteX8" fmla="*/ 6104 w 10000"/>
              <a:gd name="connsiteY8" fmla="*/ 7227 h 9823"/>
              <a:gd name="connsiteX9" fmla="*/ 6170 w 10000"/>
              <a:gd name="connsiteY9" fmla="*/ 7021 h 9823"/>
              <a:gd name="connsiteX10" fmla="*/ 5939 w 10000"/>
              <a:gd name="connsiteY10" fmla="*/ 6962 h 9823"/>
              <a:gd name="connsiteX11" fmla="*/ 5742 w 10000"/>
              <a:gd name="connsiteY11" fmla="*/ 6667 h 9823"/>
              <a:gd name="connsiteX12" fmla="*/ 5345 w 10000"/>
              <a:gd name="connsiteY12" fmla="*/ 6430 h 9823"/>
              <a:gd name="connsiteX13" fmla="*/ 5015 w 10000"/>
              <a:gd name="connsiteY13" fmla="*/ 6430 h 9823"/>
              <a:gd name="connsiteX14" fmla="*/ 4751 w 10000"/>
              <a:gd name="connsiteY14" fmla="*/ 6225 h 9823"/>
              <a:gd name="connsiteX15" fmla="*/ 4322 w 10000"/>
              <a:gd name="connsiteY15" fmla="*/ 5811 h 9823"/>
              <a:gd name="connsiteX16" fmla="*/ 3694 w 10000"/>
              <a:gd name="connsiteY16" fmla="*/ 5073 h 9823"/>
              <a:gd name="connsiteX17" fmla="*/ 3166 w 10000"/>
              <a:gd name="connsiteY17" fmla="*/ 4512 h 9823"/>
              <a:gd name="connsiteX18" fmla="*/ 2869 w 10000"/>
              <a:gd name="connsiteY18" fmla="*/ 4365 h 9823"/>
              <a:gd name="connsiteX19" fmla="*/ 2902 w 10000"/>
              <a:gd name="connsiteY19" fmla="*/ 3894 h 9823"/>
              <a:gd name="connsiteX20" fmla="*/ 2770 w 10000"/>
              <a:gd name="connsiteY20" fmla="*/ 3185 h 9823"/>
              <a:gd name="connsiteX21" fmla="*/ 2374 w 10000"/>
              <a:gd name="connsiteY21" fmla="*/ 3038 h 9823"/>
              <a:gd name="connsiteX22" fmla="*/ 1912 w 10000"/>
              <a:gd name="connsiteY22" fmla="*/ 2656 h 9823"/>
              <a:gd name="connsiteX23" fmla="*/ 1515 w 10000"/>
              <a:gd name="connsiteY23" fmla="*/ 2567 h 9823"/>
              <a:gd name="connsiteX24" fmla="*/ 1252 w 10000"/>
              <a:gd name="connsiteY24" fmla="*/ 2773 h 9823"/>
              <a:gd name="connsiteX25" fmla="*/ 988 w 10000"/>
              <a:gd name="connsiteY25" fmla="*/ 3009 h 9823"/>
              <a:gd name="connsiteX26" fmla="*/ 393 w 10000"/>
              <a:gd name="connsiteY26" fmla="*/ 3127 h 9823"/>
              <a:gd name="connsiteX27" fmla="*/ 327 w 10000"/>
              <a:gd name="connsiteY27" fmla="*/ 3127 h 9823"/>
              <a:gd name="connsiteX28" fmla="*/ 393 w 10000"/>
              <a:gd name="connsiteY28" fmla="*/ 3009 h 9823"/>
              <a:gd name="connsiteX29" fmla="*/ 657 w 10000"/>
              <a:gd name="connsiteY29" fmla="*/ 2684 h 9823"/>
              <a:gd name="connsiteX30" fmla="*/ 30 w 10000"/>
              <a:gd name="connsiteY30" fmla="*/ 2359 h 9823"/>
              <a:gd name="connsiteX31" fmla="*/ 30 w 10000"/>
              <a:gd name="connsiteY31" fmla="*/ 1623 h 9823"/>
              <a:gd name="connsiteX32" fmla="*/ 427 w 10000"/>
              <a:gd name="connsiteY32" fmla="*/ 1297 h 9823"/>
              <a:gd name="connsiteX33" fmla="*/ 195 w 10000"/>
              <a:gd name="connsiteY33" fmla="*/ 856 h 9823"/>
              <a:gd name="connsiteX34" fmla="*/ 492 w 10000"/>
              <a:gd name="connsiteY34" fmla="*/ 679 h 9823"/>
              <a:gd name="connsiteX35" fmla="*/ 789 w 10000"/>
              <a:gd name="connsiteY35" fmla="*/ 737 h 9823"/>
              <a:gd name="connsiteX36" fmla="*/ 1119 w 10000"/>
              <a:gd name="connsiteY36" fmla="*/ 708 h 9823"/>
              <a:gd name="connsiteX37" fmla="*/ 1549 w 10000"/>
              <a:gd name="connsiteY37" fmla="*/ 264 h 9823"/>
              <a:gd name="connsiteX38" fmla="*/ 1779 w 10000"/>
              <a:gd name="connsiteY38" fmla="*/ 325 h 9823"/>
              <a:gd name="connsiteX39" fmla="*/ 1846 w 10000"/>
              <a:gd name="connsiteY39" fmla="*/ 649 h 9823"/>
              <a:gd name="connsiteX40" fmla="*/ 1978 w 10000"/>
              <a:gd name="connsiteY40" fmla="*/ 1061 h 9823"/>
              <a:gd name="connsiteX41" fmla="*/ 2209 w 10000"/>
              <a:gd name="connsiteY41" fmla="*/ 974 h 9823"/>
              <a:gd name="connsiteX42" fmla="*/ 2440 w 10000"/>
              <a:gd name="connsiteY42" fmla="*/ 354 h 9823"/>
              <a:gd name="connsiteX43" fmla="*/ 2836 w 10000"/>
              <a:gd name="connsiteY43" fmla="*/ 590 h 9823"/>
              <a:gd name="connsiteX44" fmla="*/ 3166 w 10000"/>
              <a:gd name="connsiteY44" fmla="*/ 472 h 9823"/>
              <a:gd name="connsiteX45" fmla="*/ 3463 w 10000"/>
              <a:gd name="connsiteY45" fmla="*/ 88 h 9823"/>
              <a:gd name="connsiteX46" fmla="*/ 3827 w 10000"/>
              <a:gd name="connsiteY46" fmla="*/ 206 h 9823"/>
              <a:gd name="connsiteX47" fmla="*/ 4222 w 10000"/>
              <a:gd name="connsiteY47" fmla="*/ 0 h 9823"/>
              <a:gd name="connsiteX48" fmla="*/ 4817 w 10000"/>
              <a:gd name="connsiteY48" fmla="*/ 30 h 9823"/>
              <a:gd name="connsiteX49" fmla="*/ 5015 w 10000"/>
              <a:gd name="connsiteY49" fmla="*/ 384 h 9823"/>
              <a:gd name="connsiteX50" fmla="*/ 5709 w 10000"/>
              <a:gd name="connsiteY50" fmla="*/ 620 h 9823"/>
              <a:gd name="connsiteX51" fmla="*/ 5973 w 10000"/>
              <a:gd name="connsiteY51" fmla="*/ 766 h 9823"/>
              <a:gd name="connsiteX52" fmla="*/ 5906 w 10000"/>
              <a:gd name="connsiteY52" fmla="*/ 944 h 9823"/>
              <a:gd name="connsiteX53" fmla="*/ 5906 w 10000"/>
              <a:gd name="connsiteY53" fmla="*/ 1268 h 9823"/>
              <a:gd name="connsiteX54" fmla="*/ 5873 w 10000"/>
              <a:gd name="connsiteY54" fmla="*/ 1564 h 9823"/>
              <a:gd name="connsiteX55" fmla="*/ 5510 w 10000"/>
              <a:gd name="connsiteY55" fmla="*/ 1623 h 9823"/>
              <a:gd name="connsiteX56" fmla="*/ 4849 w 10000"/>
              <a:gd name="connsiteY56" fmla="*/ 1829 h 9823"/>
              <a:gd name="connsiteX57" fmla="*/ 4784 w 10000"/>
              <a:gd name="connsiteY57" fmla="*/ 2094 h 9823"/>
              <a:gd name="connsiteX58" fmla="*/ 4949 w 10000"/>
              <a:gd name="connsiteY58" fmla="*/ 2330 h 9823"/>
              <a:gd name="connsiteX59" fmla="*/ 4784 w 10000"/>
              <a:gd name="connsiteY59" fmla="*/ 2508 h 9823"/>
              <a:gd name="connsiteX60" fmla="*/ 4652 w 10000"/>
              <a:gd name="connsiteY60" fmla="*/ 2596 h 9823"/>
              <a:gd name="connsiteX61" fmla="*/ 4751 w 10000"/>
              <a:gd name="connsiteY61" fmla="*/ 3185 h 9823"/>
              <a:gd name="connsiteX62" fmla="*/ 5279 w 10000"/>
              <a:gd name="connsiteY62" fmla="*/ 3600 h 9823"/>
              <a:gd name="connsiteX63" fmla="*/ 5675 w 10000"/>
              <a:gd name="connsiteY63" fmla="*/ 3894 h 9823"/>
              <a:gd name="connsiteX64" fmla="*/ 5939 w 10000"/>
              <a:gd name="connsiteY64" fmla="*/ 4808 h 9823"/>
              <a:gd name="connsiteX65" fmla="*/ 6731 w 10000"/>
              <a:gd name="connsiteY65" fmla="*/ 5634 h 9823"/>
              <a:gd name="connsiteX66" fmla="*/ 7260 w 10000"/>
              <a:gd name="connsiteY66" fmla="*/ 5811 h 9823"/>
              <a:gd name="connsiteX67" fmla="*/ 7854 w 10000"/>
              <a:gd name="connsiteY67" fmla="*/ 5841 h 9823"/>
              <a:gd name="connsiteX68" fmla="*/ 7921 w 10000"/>
              <a:gd name="connsiteY68" fmla="*/ 6047 h 9823"/>
              <a:gd name="connsiteX69" fmla="*/ 7623 w 10000"/>
              <a:gd name="connsiteY69" fmla="*/ 6225 h 9823"/>
              <a:gd name="connsiteX70" fmla="*/ 8548 w 10000"/>
              <a:gd name="connsiteY70" fmla="*/ 6755 h 9823"/>
              <a:gd name="connsiteX71" fmla="*/ 9109 w 10000"/>
              <a:gd name="connsiteY71" fmla="*/ 7079 h 9823"/>
              <a:gd name="connsiteX72" fmla="*/ 9505 w 10000"/>
              <a:gd name="connsiteY72" fmla="*/ 7257 h 9823"/>
              <a:gd name="connsiteX73" fmla="*/ 9637 w 10000"/>
              <a:gd name="connsiteY73" fmla="*/ 7463 h 9823"/>
              <a:gd name="connsiteX74" fmla="*/ 10000 w 10000"/>
              <a:gd name="connsiteY74" fmla="*/ 7877 h 9823"/>
              <a:gd name="connsiteX75" fmla="*/ 9901 w 10000"/>
              <a:gd name="connsiteY75" fmla="*/ 8229 h 9823"/>
              <a:gd name="connsiteX76" fmla="*/ 9703 w 10000"/>
              <a:gd name="connsiteY76" fmla="*/ 8229 h 9823"/>
              <a:gd name="connsiteX77" fmla="*/ 9505 w 10000"/>
              <a:gd name="connsiteY77" fmla="*/ 7994 h 9823"/>
              <a:gd name="connsiteX78" fmla="*/ 9406 w 10000"/>
              <a:gd name="connsiteY78" fmla="*/ 7728 h 9823"/>
              <a:gd name="connsiteX79" fmla="*/ 9076 w 10000"/>
              <a:gd name="connsiteY79" fmla="*/ 7670 h 9823"/>
              <a:gd name="connsiteX80" fmla="*/ 8712 w 10000"/>
              <a:gd name="connsiteY80" fmla="*/ 7433 h 9823"/>
              <a:gd name="connsiteX81" fmla="*/ 8316 w 10000"/>
              <a:gd name="connsiteY81" fmla="*/ 7758 h 9823"/>
              <a:gd name="connsiteX82" fmla="*/ 8184 w 10000"/>
              <a:gd name="connsiteY82" fmla="*/ 8024 h 9823"/>
              <a:gd name="connsiteX83" fmla="*/ 8085 w 10000"/>
              <a:gd name="connsiteY83" fmla="*/ 8229 h 9823"/>
              <a:gd name="connsiteX84" fmla="*/ 8349 w 10000"/>
              <a:gd name="connsiteY84" fmla="*/ 8377 h 9823"/>
              <a:gd name="connsiteX85" fmla="*/ 8679 w 10000"/>
              <a:gd name="connsiteY85" fmla="*/ 8613 h 9823"/>
              <a:gd name="connsiteX86" fmla="*/ 8646 w 10000"/>
              <a:gd name="connsiteY86" fmla="*/ 8879 h 9823"/>
              <a:gd name="connsiteX87" fmla="*/ 8745 w 10000"/>
              <a:gd name="connsiteY87" fmla="*/ 9056 h 9823"/>
              <a:gd name="connsiteX88" fmla="*/ 8613 w 10000"/>
              <a:gd name="connsiteY88" fmla="*/ 9203 h 9823"/>
              <a:gd name="connsiteX89" fmla="*/ 8283 w 10000"/>
              <a:gd name="connsiteY89" fmla="*/ 9203 h 9823"/>
              <a:gd name="connsiteX90" fmla="*/ 8118 w 10000"/>
              <a:gd name="connsiteY90" fmla="*/ 9469 h 9823"/>
              <a:gd name="connsiteX91" fmla="*/ 8085 w 10000"/>
              <a:gd name="connsiteY91" fmla="*/ 9735 h 9823"/>
              <a:gd name="connsiteX92" fmla="*/ 7854 w 10000"/>
              <a:gd name="connsiteY92" fmla="*/ 9823 h 9823"/>
              <a:gd name="connsiteX0" fmla="*/ 7431 w 10000"/>
              <a:gd name="connsiteY0" fmla="*/ 8353 h 9910"/>
              <a:gd name="connsiteX1" fmla="*/ 7392 w 10000"/>
              <a:gd name="connsiteY1" fmla="*/ 8228 h 9910"/>
              <a:gd name="connsiteX2" fmla="*/ 7227 w 10000"/>
              <a:gd name="connsiteY2" fmla="*/ 7989 h 9910"/>
              <a:gd name="connsiteX3" fmla="*/ 7061 w 10000"/>
              <a:gd name="connsiteY3" fmla="*/ 8078 h 9910"/>
              <a:gd name="connsiteX4" fmla="*/ 6897 w 10000"/>
              <a:gd name="connsiteY4" fmla="*/ 8019 h 9910"/>
              <a:gd name="connsiteX5" fmla="*/ 6633 w 10000"/>
              <a:gd name="connsiteY5" fmla="*/ 7747 h 9910"/>
              <a:gd name="connsiteX6" fmla="*/ 6699 w 10000"/>
              <a:gd name="connsiteY6" fmla="*/ 7567 h 9910"/>
              <a:gd name="connsiteX7" fmla="*/ 6500 w 10000"/>
              <a:gd name="connsiteY7" fmla="*/ 7267 h 9910"/>
              <a:gd name="connsiteX8" fmla="*/ 6104 w 10000"/>
              <a:gd name="connsiteY8" fmla="*/ 7357 h 9910"/>
              <a:gd name="connsiteX9" fmla="*/ 6170 w 10000"/>
              <a:gd name="connsiteY9" fmla="*/ 7148 h 9910"/>
              <a:gd name="connsiteX10" fmla="*/ 5939 w 10000"/>
              <a:gd name="connsiteY10" fmla="*/ 7087 h 9910"/>
              <a:gd name="connsiteX11" fmla="*/ 5742 w 10000"/>
              <a:gd name="connsiteY11" fmla="*/ 6787 h 9910"/>
              <a:gd name="connsiteX12" fmla="*/ 5345 w 10000"/>
              <a:gd name="connsiteY12" fmla="*/ 6546 h 9910"/>
              <a:gd name="connsiteX13" fmla="*/ 5015 w 10000"/>
              <a:gd name="connsiteY13" fmla="*/ 6546 h 9910"/>
              <a:gd name="connsiteX14" fmla="*/ 4751 w 10000"/>
              <a:gd name="connsiteY14" fmla="*/ 6337 h 9910"/>
              <a:gd name="connsiteX15" fmla="*/ 4322 w 10000"/>
              <a:gd name="connsiteY15" fmla="*/ 5916 h 9910"/>
              <a:gd name="connsiteX16" fmla="*/ 3694 w 10000"/>
              <a:gd name="connsiteY16" fmla="*/ 5164 h 9910"/>
              <a:gd name="connsiteX17" fmla="*/ 3166 w 10000"/>
              <a:gd name="connsiteY17" fmla="*/ 4593 h 9910"/>
              <a:gd name="connsiteX18" fmla="*/ 2869 w 10000"/>
              <a:gd name="connsiteY18" fmla="*/ 4444 h 9910"/>
              <a:gd name="connsiteX19" fmla="*/ 2902 w 10000"/>
              <a:gd name="connsiteY19" fmla="*/ 3964 h 9910"/>
              <a:gd name="connsiteX20" fmla="*/ 2770 w 10000"/>
              <a:gd name="connsiteY20" fmla="*/ 3242 h 9910"/>
              <a:gd name="connsiteX21" fmla="*/ 2374 w 10000"/>
              <a:gd name="connsiteY21" fmla="*/ 3093 h 9910"/>
              <a:gd name="connsiteX22" fmla="*/ 1912 w 10000"/>
              <a:gd name="connsiteY22" fmla="*/ 2704 h 9910"/>
              <a:gd name="connsiteX23" fmla="*/ 1515 w 10000"/>
              <a:gd name="connsiteY23" fmla="*/ 2613 h 9910"/>
              <a:gd name="connsiteX24" fmla="*/ 1252 w 10000"/>
              <a:gd name="connsiteY24" fmla="*/ 2823 h 9910"/>
              <a:gd name="connsiteX25" fmla="*/ 988 w 10000"/>
              <a:gd name="connsiteY25" fmla="*/ 3063 h 9910"/>
              <a:gd name="connsiteX26" fmla="*/ 393 w 10000"/>
              <a:gd name="connsiteY26" fmla="*/ 3183 h 9910"/>
              <a:gd name="connsiteX27" fmla="*/ 327 w 10000"/>
              <a:gd name="connsiteY27" fmla="*/ 3183 h 9910"/>
              <a:gd name="connsiteX28" fmla="*/ 393 w 10000"/>
              <a:gd name="connsiteY28" fmla="*/ 3063 h 9910"/>
              <a:gd name="connsiteX29" fmla="*/ 657 w 10000"/>
              <a:gd name="connsiteY29" fmla="*/ 2732 h 9910"/>
              <a:gd name="connsiteX30" fmla="*/ 30 w 10000"/>
              <a:gd name="connsiteY30" fmla="*/ 2402 h 9910"/>
              <a:gd name="connsiteX31" fmla="*/ 30 w 10000"/>
              <a:gd name="connsiteY31" fmla="*/ 1652 h 9910"/>
              <a:gd name="connsiteX32" fmla="*/ 427 w 10000"/>
              <a:gd name="connsiteY32" fmla="*/ 1320 h 9910"/>
              <a:gd name="connsiteX33" fmla="*/ 195 w 10000"/>
              <a:gd name="connsiteY33" fmla="*/ 871 h 9910"/>
              <a:gd name="connsiteX34" fmla="*/ 492 w 10000"/>
              <a:gd name="connsiteY34" fmla="*/ 691 h 9910"/>
              <a:gd name="connsiteX35" fmla="*/ 789 w 10000"/>
              <a:gd name="connsiteY35" fmla="*/ 750 h 9910"/>
              <a:gd name="connsiteX36" fmla="*/ 1119 w 10000"/>
              <a:gd name="connsiteY36" fmla="*/ 721 h 9910"/>
              <a:gd name="connsiteX37" fmla="*/ 1549 w 10000"/>
              <a:gd name="connsiteY37" fmla="*/ 269 h 9910"/>
              <a:gd name="connsiteX38" fmla="*/ 1779 w 10000"/>
              <a:gd name="connsiteY38" fmla="*/ 331 h 9910"/>
              <a:gd name="connsiteX39" fmla="*/ 1846 w 10000"/>
              <a:gd name="connsiteY39" fmla="*/ 661 h 9910"/>
              <a:gd name="connsiteX40" fmla="*/ 1978 w 10000"/>
              <a:gd name="connsiteY40" fmla="*/ 1080 h 9910"/>
              <a:gd name="connsiteX41" fmla="*/ 2209 w 10000"/>
              <a:gd name="connsiteY41" fmla="*/ 992 h 9910"/>
              <a:gd name="connsiteX42" fmla="*/ 2440 w 10000"/>
              <a:gd name="connsiteY42" fmla="*/ 360 h 9910"/>
              <a:gd name="connsiteX43" fmla="*/ 2836 w 10000"/>
              <a:gd name="connsiteY43" fmla="*/ 601 h 9910"/>
              <a:gd name="connsiteX44" fmla="*/ 3166 w 10000"/>
              <a:gd name="connsiteY44" fmla="*/ 481 h 9910"/>
              <a:gd name="connsiteX45" fmla="*/ 3463 w 10000"/>
              <a:gd name="connsiteY45" fmla="*/ 90 h 9910"/>
              <a:gd name="connsiteX46" fmla="*/ 3827 w 10000"/>
              <a:gd name="connsiteY46" fmla="*/ 210 h 9910"/>
              <a:gd name="connsiteX47" fmla="*/ 4222 w 10000"/>
              <a:gd name="connsiteY47" fmla="*/ 0 h 9910"/>
              <a:gd name="connsiteX48" fmla="*/ 4817 w 10000"/>
              <a:gd name="connsiteY48" fmla="*/ 31 h 9910"/>
              <a:gd name="connsiteX49" fmla="*/ 5015 w 10000"/>
              <a:gd name="connsiteY49" fmla="*/ 391 h 9910"/>
              <a:gd name="connsiteX50" fmla="*/ 5709 w 10000"/>
              <a:gd name="connsiteY50" fmla="*/ 631 h 9910"/>
              <a:gd name="connsiteX51" fmla="*/ 5973 w 10000"/>
              <a:gd name="connsiteY51" fmla="*/ 780 h 9910"/>
              <a:gd name="connsiteX52" fmla="*/ 5906 w 10000"/>
              <a:gd name="connsiteY52" fmla="*/ 961 h 9910"/>
              <a:gd name="connsiteX53" fmla="*/ 5906 w 10000"/>
              <a:gd name="connsiteY53" fmla="*/ 1291 h 9910"/>
              <a:gd name="connsiteX54" fmla="*/ 5873 w 10000"/>
              <a:gd name="connsiteY54" fmla="*/ 1592 h 9910"/>
              <a:gd name="connsiteX55" fmla="*/ 5510 w 10000"/>
              <a:gd name="connsiteY55" fmla="*/ 1652 h 9910"/>
              <a:gd name="connsiteX56" fmla="*/ 4849 w 10000"/>
              <a:gd name="connsiteY56" fmla="*/ 1862 h 9910"/>
              <a:gd name="connsiteX57" fmla="*/ 4784 w 10000"/>
              <a:gd name="connsiteY57" fmla="*/ 2132 h 9910"/>
              <a:gd name="connsiteX58" fmla="*/ 4949 w 10000"/>
              <a:gd name="connsiteY58" fmla="*/ 2372 h 9910"/>
              <a:gd name="connsiteX59" fmla="*/ 4784 w 10000"/>
              <a:gd name="connsiteY59" fmla="*/ 2553 h 9910"/>
              <a:gd name="connsiteX60" fmla="*/ 4652 w 10000"/>
              <a:gd name="connsiteY60" fmla="*/ 2643 h 9910"/>
              <a:gd name="connsiteX61" fmla="*/ 4751 w 10000"/>
              <a:gd name="connsiteY61" fmla="*/ 3242 h 9910"/>
              <a:gd name="connsiteX62" fmla="*/ 5279 w 10000"/>
              <a:gd name="connsiteY62" fmla="*/ 3665 h 9910"/>
              <a:gd name="connsiteX63" fmla="*/ 5675 w 10000"/>
              <a:gd name="connsiteY63" fmla="*/ 3964 h 9910"/>
              <a:gd name="connsiteX64" fmla="*/ 5939 w 10000"/>
              <a:gd name="connsiteY64" fmla="*/ 4895 h 9910"/>
              <a:gd name="connsiteX65" fmla="*/ 6731 w 10000"/>
              <a:gd name="connsiteY65" fmla="*/ 5736 h 9910"/>
              <a:gd name="connsiteX66" fmla="*/ 7260 w 10000"/>
              <a:gd name="connsiteY66" fmla="*/ 5916 h 9910"/>
              <a:gd name="connsiteX67" fmla="*/ 7854 w 10000"/>
              <a:gd name="connsiteY67" fmla="*/ 5946 h 9910"/>
              <a:gd name="connsiteX68" fmla="*/ 7921 w 10000"/>
              <a:gd name="connsiteY68" fmla="*/ 6156 h 9910"/>
              <a:gd name="connsiteX69" fmla="*/ 7623 w 10000"/>
              <a:gd name="connsiteY69" fmla="*/ 6337 h 9910"/>
              <a:gd name="connsiteX70" fmla="*/ 8548 w 10000"/>
              <a:gd name="connsiteY70" fmla="*/ 6877 h 9910"/>
              <a:gd name="connsiteX71" fmla="*/ 9109 w 10000"/>
              <a:gd name="connsiteY71" fmla="*/ 7207 h 9910"/>
              <a:gd name="connsiteX72" fmla="*/ 9505 w 10000"/>
              <a:gd name="connsiteY72" fmla="*/ 7388 h 9910"/>
              <a:gd name="connsiteX73" fmla="*/ 9637 w 10000"/>
              <a:gd name="connsiteY73" fmla="*/ 7597 h 9910"/>
              <a:gd name="connsiteX74" fmla="*/ 10000 w 10000"/>
              <a:gd name="connsiteY74" fmla="*/ 8019 h 9910"/>
              <a:gd name="connsiteX75" fmla="*/ 9901 w 10000"/>
              <a:gd name="connsiteY75" fmla="*/ 8377 h 9910"/>
              <a:gd name="connsiteX76" fmla="*/ 9703 w 10000"/>
              <a:gd name="connsiteY76" fmla="*/ 8377 h 9910"/>
              <a:gd name="connsiteX77" fmla="*/ 9505 w 10000"/>
              <a:gd name="connsiteY77" fmla="*/ 8138 h 9910"/>
              <a:gd name="connsiteX78" fmla="*/ 9406 w 10000"/>
              <a:gd name="connsiteY78" fmla="*/ 7867 h 9910"/>
              <a:gd name="connsiteX79" fmla="*/ 9076 w 10000"/>
              <a:gd name="connsiteY79" fmla="*/ 7808 h 9910"/>
              <a:gd name="connsiteX80" fmla="*/ 8712 w 10000"/>
              <a:gd name="connsiteY80" fmla="*/ 7567 h 9910"/>
              <a:gd name="connsiteX81" fmla="*/ 8316 w 10000"/>
              <a:gd name="connsiteY81" fmla="*/ 7898 h 9910"/>
              <a:gd name="connsiteX82" fmla="*/ 8184 w 10000"/>
              <a:gd name="connsiteY82" fmla="*/ 8169 h 9910"/>
              <a:gd name="connsiteX83" fmla="*/ 8085 w 10000"/>
              <a:gd name="connsiteY83" fmla="*/ 8377 h 9910"/>
              <a:gd name="connsiteX84" fmla="*/ 8349 w 10000"/>
              <a:gd name="connsiteY84" fmla="*/ 8528 h 9910"/>
              <a:gd name="connsiteX85" fmla="*/ 8679 w 10000"/>
              <a:gd name="connsiteY85" fmla="*/ 8768 h 9910"/>
              <a:gd name="connsiteX86" fmla="*/ 8646 w 10000"/>
              <a:gd name="connsiteY86" fmla="*/ 9039 h 9910"/>
              <a:gd name="connsiteX87" fmla="*/ 8745 w 10000"/>
              <a:gd name="connsiteY87" fmla="*/ 9219 h 9910"/>
              <a:gd name="connsiteX88" fmla="*/ 8613 w 10000"/>
              <a:gd name="connsiteY88" fmla="*/ 9369 h 9910"/>
              <a:gd name="connsiteX89" fmla="*/ 8283 w 10000"/>
              <a:gd name="connsiteY89" fmla="*/ 9369 h 9910"/>
              <a:gd name="connsiteX90" fmla="*/ 8118 w 10000"/>
              <a:gd name="connsiteY90" fmla="*/ 9640 h 9910"/>
              <a:gd name="connsiteX91" fmla="*/ 8085 w 10000"/>
              <a:gd name="connsiteY91" fmla="*/ 9910 h 9910"/>
              <a:gd name="connsiteX0" fmla="*/ 7431 w 10000"/>
              <a:gd name="connsiteY0" fmla="*/ 8429 h 10000"/>
              <a:gd name="connsiteX1" fmla="*/ 7392 w 10000"/>
              <a:gd name="connsiteY1" fmla="*/ 8303 h 10000"/>
              <a:gd name="connsiteX2" fmla="*/ 7227 w 10000"/>
              <a:gd name="connsiteY2" fmla="*/ 8062 h 10000"/>
              <a:gd name="connsiteX3" fmla="*/ 7061 w 10000"/>
              <a:gd name="connsiteY3" fmla="*/ 8151 h 10000"/>
              <a:gd name="connsiteX4" fmla="*/ 6897 w 10000"/>
              <a:gd name="connsiteY4" fmla="*/ 8092 h 10000"/>
              <a:gd name="connsiteX5" fmla="*/ 6633 w 10000"/>
              <a:gd name="connsiteY5" fmla="*/ 7817 h 10000"/>
              <a:gd name="connsiteX6" fmla="*/ 6699 w 10000"/>
              <a:gd name="connsiteY6" fmla="*/ 7636 h 10000"/>
              <a:gd name="connsiteX7" fmla="*/ 6500 w 10000"/>
              <a:gd name="connsiteY7" fmla="*/ 7333 h 10000"/>
              <a:gd name="connsiteX8" fmla="*/ 6104 w 10000"/>
              <a:gd name="connsiteY8" fmla="*/ 7424 h 10000"/>
              <a:gd name="connsiteX9" fmla="*/ 6170 w 10000"/>
              <a:gd name="connsiteY9" fmla="*/ 7213 h 10000"/>
              <a:gd name="connsiteX10" fmla="*/ 5939 w 10000"/>
              <a:gd name="connsiteY10" fmla="*/ 7151 h 10000"/>
              <a:gd name="connsiteX11" fmla="*/ 5742 w 10000"/>
              <a:gd name="connsiteY11" fmla="*/ 6849 h 10000"/>
              <a:gd name="connsiteX12" fmla="*/ 5345 w 10000"/>
              <a:gd name="connsiteY12" fmla="*/ 6605 h 10000"/>
              <a:gd name="connsiteX13" fmla="*/ 5015 w 10000"/>
              <a:gd name="connsiteY13" fmla="*/ 6605 h 10000"/>
              <a:gd name="connsiteX14" fmla="*/ 4751 w 10000"/>
              <a:gd name="connsiteY14" fmla="*/ 6395 h 10000"/>
              <a:gd name="connsiteX15" fmla="*/ 4322 w 10000"/>
              <a:gd name="connsiteY15" fmla="*/ 5970 h 10000"/>
              <a:gd name="connsiteX16" fmla="*/ 3694 w 10000"/>
              <a:gd name="connsiteY16" fmla="*/ 5211 h 10000"/>
              <a:gd name="connsiteX17" fmla="*/ 3166 w 10000"/>
              <a:gd name="connsiteY17" fmla="*/ 4635 h 10000"/>
              <a:gd name="connsiteX18" fmla="*/ 2869 w 10000"/>
              <a:gd name="connsiteY18" fmla="*/ 4484 h 10000"/>
              <a:gd name="connsiteX19" fmla="*/ 2902 w 10000"/>
              <a:gd name="connsiteY19" fmla="*/ 4000 h 10000"/>
              <a:gd name="connsiteX20" fmla="*/ 2770 w 10000"/>
              <a:gd name="connsiteY20" fmla="*/ 3271 h 10000"/>
              <a:gd name="connsiteX21" fmla="*/ 2374 w 10000"/>
              <a:gd name="connsiteY21" fmla="*/ 3121 h 10000"/>
              <a:gd name="connsiteX22" fmla="*/ 1912 w 10000"/>
              <a:gd name="connsiteY22" fmla="*/ 2729 h 10000"/>
              <a:gd name="connsiteX23" fmla="*/ 1515 w 10000"/>
              <a:gd name="connsiteY23" fmla="*/ 2637 h 10000"/>
              <a:gd name="connsiteX24" fmla="*/ 1252 w 10000"/>
              <a:gd name="connsiteY24" fmla="*/ 2849 h 10000"/>
              <a:gd name="connsiteX25" fmla="*/ 988 w 10000"/>
              <a:gd name="connsiteY25" fmla="*/ 3091 h 10000"/>
              <a:gd name="connsiteX26" fmla="*/ 393 w 10000"/>
              <a:gd name="connsiteY26" fmla="*/ 3212 h 10000"/>
              <a:gd name="connsiteX27" fmla="*/ 327 w 10000"/>
              <a:gd name="connsiteY27" fmla="*/ 3212 h 10000"/>
              <a:gd name="connsiteX28" fmla="*/ 393 w 10000"/>
              <a:gd name="connsiteY28" fmla="*/ 3091 h 10000"/>
              <a:gd name="connsiteX29" fmla="*/ 657 w 10000"/>
              <a:gd name="connsiteY29" fmla="*/ 2757 h 10000"/>
              <a:gd name="connsiteX30" fmla="*/ 30 w 10000"/>
              <a:gd name="connsiteY30" fmla="*/ 2424 h 10000"/>
              <a:gd name="connsiteX31" fmla="*/ 30 w 10000"/>
              <a:gd name="connsiteY31" fmla="*/ 1667 h 10000"/>
              <a:gd name="connsiteX32" fmla="*/ 427 w 10000"/>
              <a:gd name="connsiteY32" fmla="*/ 1332 h 10000"/>
              <a:gd name="connsiteX33" fmla="*/ 195 w 10000"/>
              <a:gd name="connsiteY33" fmla="*/ 879 h 10000"/>
              <a:gd name="connsiteX34" fmla="*/ 492 w 10000"/>
              <a:gd name="connsiteY34" fmla="*/ 697 h 10000"/>
              <a:gd name="connsiteX35" fmla="*/ 789 w 10000"/>
              <a:gd name="connsiteY35" fmla="*/ 757 h 10000"/>
              <a:gd name="connsiteX36" fmla="*/ 1119 w 10000"/>
              <a:gd name="connsiteY36" fmla="*/ 728 h 10000"/>
              <a:gd name="connsiteX37" fmla="*/ 1549 w 10000"/>
              <a:gd name="connsiteY37" fmla="*/ 271 h 10000"/>
              <a:gd name="connsiteX38" fmla="*/ 1779 w 10000"/>
              <a:gd name="connsiteY38" fmla="*/ 334 h 10000"/>
              <a:gd name="connsiteX39" fmla="*/ 1846 w 10000"/>
              <a:gd name="connsiteY39" fmla="*/ 667 h 10000"/>
              <a:gd name="connsiteX40" fmla="*/ 1978 w 10000"/>
              <a:gd name="connsiteY40" fmla="*/ 1090 h 10000"/>
              <a:gd name="connsiteX41" fmla="*/ 2209 w 10000"/>
              <a:gd name="connsiteY41" fmla="*/ 1001 h 10000"/>
              <a:gd name="connsiteX42" fmla="*/ 2440 w 10000"/>
              <a:gd name="connsiteY42" fmla="*/ 363 h 10000"/>
              <a:gd name="connsiteX43" fmla="*/ 2836 w 10000"/>
              <a:gd name="connsiteY43" fmla="*/ 606 h 10000"/>
              <a:gd name="connsiteX44" fmla="*/ 3166 w 10000"/>
              <a:gd name="connsiteY44" fmla="*/ 485 h 10000"/>
              <a:gd name="connsiteX45" fmla="*/ 3463 w 10000"/>
              <a:gd name="connsiteY45" fmla="*/ 91 h 10000"/>
              <a:gd name="connsiteX46" fmla="*/ 3827 w 10000"/>
              <a:gd name="connsiteY46" fmla="*/ 212 h 10000"/>
              <a:gd name="connsiteX47" fmla="*/ 4222 w 10000"/>
              <a:gd name="connsiteY47" fmla="*/ 0 h 10000"/>
              <a:gd name="connsiteX48" fmla="*/ 4817 w 10000"/>
              <a:gd name="connsiteY48" fmla="*/ 31 h 10000"/>
              <a:gd name="connsiteX49" fmla="*/ 5015 w 10000"/>
              <a:gd name="connsiteY49" fmla="*/ 395 h 10000"/>
              <a:gd name="connsiteX50" fmla="*/ 5709 w 10000"/>
              <a:gd name="connsiteY50" fmla="*/ 637 h 10000"/>
              <a:gd name="connsiteX51" fmla="*/ 5973 w 10000"/>
              <a:gd name="connsiteY51" fmla="*/ 787 h 10000"/>
              <a:gd name="connsiteX52" fmla="*/ 5906 w 10000"/>
              <a:gd name="connsiteY52" fmla="*/ 970 h 10000"/>
              <a:gd name="connsiteX53" fmla="*/ 5906 w 10000"/>
              <a:gd name="connsiteY53" fmla="*/ 1303 h 10000"/>
              <a:gd name="connsiteX54" fmla="*/ 5873 w 10000"/>
              <a:gd name="connsiteY54" fmla="*/ 1606 h 10000"/>
              <a:gd name="connsiteX55" fmla="*/ 5510 w 10000"/>
              <a:gd name="connsiteY55" fmla="*/ 1667 h 10000"/>
              <a:gd name="connsiteX56" fmla="*/ 4849 w 10000"/>
              <a:gd name="connsiteY56" fmla="*/ 1879 h 10000"/>
              <a:gd name="connsiteX57" fmla="*/ 4784 w 10000"/>
              <a:gd name="connsiteY57" fmla="*/ 2151 h 10000"/>
              <a:gd name="connsiteX58" fmla="*/ 4949 w 10000"/>
              <a:gd name="connsiteY58" fmla="*/ 2394 h 10000"/>
              <a:gd name="connsiteX59" fmla="*/ 4784 w 10000"/>
              <a:gd name="connsiteY59" fmla="*/ 2576 h 10000"/>
              <a:gd name="connsiteX60" fmla="*/ 4652 w 10000"/>
              <a:gd name="connsiteY60" fmla="*/ 2667 h 10000"/>
              <a:gd name="connsiteX61" fmla="*/ 4751 w 10000"/>
              <a:gd name="connsiteY61" fmla="*/ 3271 h 10000"/>
              <a:gd name="connsiteX62" fmla="*/ 5279 w 10000"/>
              <a:gd name="connsiteY62" fmla="*/ 3698 h 10000"/>
              <a:gd name="connsiteX63" fmla="*/ 5675 w 10000"/>
              <a:gd name="connsiteY63" fmla="*/ 4000 h 10000"/>
              <a:gd name="connsiteX64" fmla="*/ 5939 w 10000"/>
              <a:gd name="connsiteY64" fmla="*/ 4939 h 10000"/>
              <a:gd name="connsiteX65" fmla="*/ 6731 w 10000"/>
              <a:gd name="connsiteY65" fmla="*/ 5788 h 10000"/>
              <a:gd name="connsiteX66" fmla="*/ 7260 w 10000"/>
              <a:gd name="connsiteY66" fmla="*/ 5970 h 10000"/>
              <a:gd name="connsiteX67" fmla="*/ 7854 w 10000"/>
              <a:gd name="connsiteY67" fmla="*/ 6000 h 10000"/>
              <a:gd name="connsiteX68" fmla="*/ 7921 w 10000"/>
              <a:gd name="connsiteY68" fmla="*/ 6212 h 10000"/>
              <a:gd name="connsiteX69" fmla="*/ 7623 w 10000"/>
              <a:gd name="connsiteY69" fmla="*/ 6395 h 10000"/>
              <a:gd name="connsiteX70" fmla="*/ 8548 w 10000"/>
              <a:gd name="connsiteY70" fmla="*/ 6939 h 10000"/>
              <a:gd name="connsiteX71" fmla="*/ 9109 w 10000"/>
              <a:gd name="connsiteY71" fmla="*/ 7272 h 10000"/>
              <a:gd name="connsiteX72" fmla="*/ 9505 w 10000"/>
              <a:gd name="connsiteY72" fmla="*/ 7455 h 10000"/>
              <a:gd name="connsiteX73" fmla="*/ 9637 w 10000"/>
              <a:gd name="connsiteY73" fmla="*/ 7666 h 10000"/>
              <a:gd name="connsiteX74" fmla="*/ 10000 w 10000"/>
              <a:gd name="connsiteY74" fmla="*/ 8092 h 10000"/>
              <a:gd name="connsiteX75" fmla="*/ 9901 w 10000"/>
              <a:gd name="connsiteY75" fmla="*/ 8453 h 10000"/>
              <a:gd name="connsiteX76" fmla="*/ 9703 w 10000"/>
              <a:gd name="connsiteY76" fmla="*/ 8453 h 10000"/>
              <a:gd name="connsiteX77" fmla="*/ 9505 w 10000"/>
              <a:gd name="connsiteY77" fmla="*/ 8212 h 10000"/>
              <a:gd name="connsiteX78" fmla="*/ 9406 w 10000"/>
              <a:gd name="connsiteY78" fmla="*/ 7938 h 10000"/>
              <a:gd name="connsiteX79" fmla="*/ 9076 w 10000"/>
              <a:gd name="connsiteY79" fmla="*/ 7879 h 10000"/>
              <a:gd name="connsiteX80" fmla="*/ 8712 w 10000"/>
              <a:gd name="connsiteY80" fmla="*/ 7636 h 10000"/>
              <a:gd name="connsiteX81" fmla="*/ 8316 w 10000"/>
              <a:gd name="connsiteY81" fmla="*/ 7970 h 10000"/>
              <a:gd name="connsiteX82" fmla="*/ 8184 w 10000"/>
              <a:gd name="connsiteY82" fmla="*/ 8243 h 10000"/>
              <a:gd name="connsiteX83" fmla="*/ 8085 w 10000"/>
              <a:gd name="connsiteY83" fmla="*/ 8453 h 10000"/>
              <a:gd name="connsiteX84" fmla="*/ 8349 w 10000"/>
              <a:gd name="connsiteY84" fmla="*/ 8605 h 10000"/>
              <a:gd name="connsiteX85" fmla="*/ 8679 w 10000"/>
              <a:gd name="connsiteY85" fmla="*/ 8848 h 10000"/>
              <a:gd name="connsiteX86" fmla="*/ 8646 w 10000"/>
              <a:gd name="connsiteY86" fmla="*/ 9121 h 10000"/>
              <a:gd name="connsiteX87" fmla="*/ 8745 w 10000"/>
              <a:gd name="connsiteY87" fmla="*/ 9303 h 10000"/>
              <a:gd name="connsiteX88" fmla="*/ 8613 w 10000"/>
              <a:gd name="connsiteY88" fmla="*/ 9454 h 10000"/>
              <a:gd name="connsiteX89" fmla="*/ 8283 w 10000"/>
              <a:gd name="connsiteY89" fmla="*/ 9454 h 10000"/>
              <a:gd name="connsiteX90" fmla="*/ 8085 w 10000"/>
              <a:gd name="connsiteY90" fmla="*/ 10000 h 10000"/>
              <a:gd name="connsiteX0" fmla="*/ 7431 w 10000"/>
              <a:gd name="connsiteY0" fmla="*/ 8429 h 9457"/>
              <a:gd name="connsiteX1" fmla="*/ 7392 w 10000"/>
              <a:gd name="connsiteY1" fmla="*/ 8303 h 9457"/>
              <a:gd name="connsiteX2" fmla="*/ 7227 w 10000"/>
              <a:gd name="connsiteY2" fmla="*/ 8062 h 9457"/>
              <a:gd name="connsiteX3" fmla="*/ 7061 w 10000"/>
              <a:gd name="connsiteY3" fmla="*/ 8151 h 9457"/>
              <a:gd name="connsiteX4" fmla="*/ 6897 w 10000"/>
              <a:gd name="connsiteY4" fmla="*/ 8092 h 9457"/>
              <a:gd name="connsiteX5" fmla="*/ 6633 w 10000"/>
              <a:gd name="connsiteY5" fmla="*/ 7817 h 9457"/>
              <a:gd name="connsiteX6" fmla="*/ 6699 w 10000"/>
              <a:gd name="connsiteY6" fmla="*/ 7636 h 9457"/>
              <a:gd name="connsiteX7" fmla="*/ 6500 w 10000"/>
              <a:gd name="connsiteY7" fmla="*/ 7333 h 9457"/>
              <a:gd name="connsiteX8" fmla="*/ 6104 w 10000"/>
              <a:gd name="connsiteY8" fmla="*/ 7424 h 9457"/>
              <a:gd name="connsiteX9" fmla="*/ 6170 w 10000"/>
              <a:gd name="connsiteY9" fmla="*/ 7213 h 9457"/>
              <a:gd name="connsiteX10" fmla="*/ 5939 w 10000"/>
              <a:gd name="connsiteY10" fmla="*/ 7151 h 9457"/>
              <a:gd name="connsiteX11" fmla="*/ 5742 w 10000"/>
              <a:gd name="connsiteY11" fmla="*/ 6849 h 9457"/>
              <a:gd name="connsiteX12" fmla="*/ 5345 w 10000"/>
              <a:gd name="connsiteY12" fmla="*/ 6605 h 9457"/>
              <a:gd name="connsiteX13" fmla="*/ 5015 w 10000"/>
              <a:gd name="connsiteY13" fmla="*/ 6605 h 9457"/>
              <a:gd name="connsiteX14" fmla="*/ 4751 w 10000"/>
              <a:gd name="connsiteY14" fmla="*/ 6395 h 9457"/>
              <a:gd name="connsiteX15" fmla="*/ 4322 w 10000"/>
              <a:gd name="connsiteY15" fmla="*/ 5970 h 9457"/>
              <a:gd name="connsiteX16" fmla="*/ 3694 w 10000"/>
              <a:gd name="connsiteY16" fmla="*/ 5211 h 9457"/>
              <a:gd name="connsiteX17" fmla="*/ 3166 w 10000"/>
              <a:gd name="connsiteY17" fmla="*/ 4635 h 9457"/>
              <a:gd name="connsiteX18" fmla="*/ 2869 w 10000"/>
              <a:gd name="connsiteY18" fmla="*/ 4484 h 9457"/>
              <a:gd name="connsiteX19" fmla="*/ 2902 w 10000"/>
              <a:gd name="connsiteY19" fmla="*/ 4000 h 9457"/>
              <a:gd name="connsiteX20" fmla="*/ 2770 w 10000"/>
              <a:gd name="connsiteY20" fmla="*/ 3271 h 9457"/>
              <a:gd name="connsiteX21" fmla="*/ 2374 w 10000"/>
              <a:gd name="connsiteY21" fmla="*/ 3121 h 9457"/>
              <a:gd name="connsiteX22" fmla="*/ 1912 w 10000"/>
              <a:gd name="connsiteY22" fmla="*/ 2729 h 9457"/>
              <a:gd name="connsiteX23" fmla="*/ 1515 w 10000"/>
              <a:gd name="connsiteY23" fmla="*/ 2637 h 9457"/>
              <a:gd name="connsiteX24" fmla="*/ 1252 w 10000"/>
              <a:gd name="connsiteY24" fmla="*/ 2849 h 9457"/>
              <a:gd name="connsiteX25" fmla="*/ 988 w 10000"/>
              <a:gd name="connsiteY25" fmla="*/ 3091 h 9457"/>
              <a:gd name="connsiteX26" fmla="*/ 393 w 10000"/>
              <a:gd name="connsiteY26" fmla="*/ 3212 h 9457"/>
              <a:gd name="connsiteX27" fmla="*/ 327 w 10000"/>
              <a:gd name="connsiteY27" fmla="*/ 3212 h 9457"/>
              <a:gd name="connsiteX28" fmla="*/ 393 w 10000"/>
              <a:gd name="connsiteY28" fmla="*/ 3091 h 9457"/>
              <a:gd name="connsiteX29" fmla="*/ 657 w 10000"/>
              <a:gd name="connsiteY29" fmla="*/ 2757 h 9457"/>
              <a:gd name="connsiteX30" fmla="*/ 30 w 10000"/>
              <a:gd name="connsiteY30" fmla="*/ 2424 h 9457"/>
              <a:gd name="connsiteX31" fmla="*/ 30 w 10000"/>
              <a:gd name="connsiteY31" fmla="*/ 1667 h 9457"/>
              <a:gd name="connsiteX32" fmla="*/ 427 w 10000"/>
              <a:gd name="connsiteY32" fmla="*/ 1332 h 9457"/>
              <a:gd name="connsiteX33" fmla="*/ 195 w 10000"/>
              <a:gd name="connsiteY33" fmla="*/ 879 h 9457"/>
              <a:gd name="connsiteX34" fmla="*/ 492 w 10000"/>
              <a:gd name="connsiteY34" fmla="*/ 697 h 9457"/>
              <a:gd name="connsiteX35" fmla="*/ 789 w 10000"/>
              <a:gd name="connsiteY35" fmla="*/ 757 h 9457"/>
              <a:gd name="connsiteX36" fmla="*/ 1119 w 10000"/>
              <a:gd name="connsiteY36" fmla="*/ 728 h 9457"/>
              <a:gd name="connsiteX37" fmla="*/ 1549 w 10000"/>
              <a:gd name="connsiteY37" fmla="*/ 271 h 9457"/>
              <a:gd name="connsiteX38" fmla="*/ 1779 w 10000"/>
              <a:gd name="connsiteY38" fmla="*/ 334 h 9457"/>
              <a:gd name="connsiteX39" fmla="*/ 1846 w 10000"/>
              <a:gd name="connsiteY39" fmla="*/ 667 h 9457"/>
              <a:gd name="connsiteX40" fmla="*/ 1978 w 10000"/>
              <a:gd name="connsiteY40" fmla="*/ 1090 h 9457"/>
              <a:gd name="connsiteX41" fmla="*/ 2209 w 10000"/>
              <a:gd name="connsiteY41" fmla="*/ 1001 h 9457"/>
              <a:gd name="connsiteX42" fmla="*/ 2440 w 10000"/>
              <a:gd name="connsiteY42" fmla="*/ 363 h 9457"/>
              <a:gd name="connsiteX43" fmla="*/ 2836 w 10000"/>
              <a:gd name="connsiteY43" fmla="*/ 606 h 9457"/>
              <a:gd name="connsiteX44" fmla="*/ 3166 w 10000"/>
              <a:gd name="connsiteY44" fmla="*/ 485 h 9457"/>
              <a:gd name="connsiteX45" fmla="*/ 3463 w 10000"/>
              <a:gd name="connsiteY45" fmla="*/ 91 h 9457"/>
              <a:gd name="connsiteX46" fmla="*/ 3827 w 10000"/>
              <a:gd name="connsiteY46" fmla="*/ 212 h 9457"/>
              <a:gd name="connsiteX47" fmla="*/ 4222 w 10000"/>
              <a:gd name="connsiteY47" fmla="*/ 0 h 9457"/>
              <a:gd name="connsiteX48" fmla="*/ 4817 w 10000"/>
              <a:gd name="connsiteY48" fmla="*/ 31 h 9457"/>
              <a:gd name="connsiteX49" fmla="*/ 5015 w 10000"/>
              <a:gd name="connsiteY49" fmla="*/ 395 h 9457"/>
              <a:gd name="connsiteX50" fmla="*/ 5709 w 10000"/>
              <a:gd name="connsiteY50" fmla="*/ 637 h 9457"/>
              <a:gd name="connsiteX51" fmla="*/ 5973 w 10000"/>
              <a:gd name="connsiteY51" fmla="*/ 787 h 9457"/>
              <a:gd name="connsiteX52" fmla="*/ 5906 w 10000"/>
              <a:gd name="connsiteY52" fmla="*/ 970 h 9457"/>
              <a:gd name="connsiteX53" fmla="*/ 5906 w 10000"/>
              <a:gd name="connsiteY53" fmla="*/ 1303 h 9457"/>
              <a:gd name="connsiteX54" fmla="*/ 5873 w 10000"/>
              <a:gd name="connsiteY54" fmla="*/ 1606 h 9457"/>
              <a:gd name="connsiteX55" fmla="*/ 5510 w 10000"/>
              <a:gd name="connsiteY55" fmla="*/ 1667 h 9457"/>
              <a:gd name="connsiteX56" fmla="*/ 4849 w 10000"/>
              <a:gd name="connsiteY56" fmla="*/ 1879 h 9457"/>
              <a:gd name="connsiteX57" fmla="*/ 4784 w 10000"/>
              <a:gd name="connsiteY57" fmla="*/ 2151 h 9457"/>
              <a:gd name="connsiteX58" fmla="*/ 4949 w 10000"/>
              <a:gd name="connsiteY58" fmla="*/ 2394 h 9457"/>
              <a:gd name="connsiteX59" fmla="*/ 4784 w 10000"/>
              <a:gd name="connsiteY59" fmla="*/ 2576 h 9457"/>
              <a:gd name="connsiteX60" fmla="*/ 4652 w 10000"/>
              <a:gd name="connsiteY60" fmla="*/ 2667 h 9457"/>
              <a:gd name="connsiteX61" fmla="*/ 4751 w 10000"/>
              <a:gd name="connsiteY61" fmla="*/ 3271 h 9457"/>
              <a:gd name="connsiteX62" fmla="*/ 5279 w 10000"/>
              <a:gd name="connsiteY62" fmla="*/ 3698 h 9457"/>
              <a:gd name="connsiteX63" fmla="*/ 5675 w 10000"/>
              <a:gd name="connsiteY63" fmla="*/ 4000 h 9457"/>
              <a:gd name="connsiteX64" fmla="*/ 5939 w 10000"/>
              <a:gd name="connsiteY64" fmla="*/ 4939 h 9457"/>
              <a:gd name="connsiteX65" fmla="*/ 6731 w 10000"/>
              <a:gd name="connsiteY65" fmla="*/ 5788 h 9457"/>
              <a:gd name="connsiteX66" fmla="*/ 7260 w 10000"/>
              <a:gd name="connsiteY66" fmla="*/ 5970 h 9457"/>
              <a:gd name="connsiteX67" fmla="*/ 7854 w 10000"/>
              <a:gd name="connsiteY67" fmla="*/ 6000 h 9457"/>
              <a:gd name="connsiteX68" fmla="*/ 7921 w 10000"/>
              <a:gd name="connsiteY68" fmla="*/ 6212 h 9457"/>
              <a:gd name="connsiteX69" fmla="*/ 7623 w 10000"/>
              <a:gd name="connsiteY69" fmla="*/ 6395 h 9457"/>
              <a:gd name="connsiteX70" fmla="*/ 8548 w 10000"/>
              <a:gd name="connsiteY70" fmla="*/ 6939 h 9457"/>
              <a:gd name="connsiteX71" fmla="*/ 9109 w 10000"/>
              <a:gd name="connsiteY71" fmla="*/ 7272 h 9457"/>
              <a:gd name="connsiteX72" fmla="*/ 9505 w 10000"/>
              <a:gd name="connsiteY72" fmla="*/ 7455 h 9457"/>
              <a:gd name="connsiteX73" fmla="*/ 9637 w 10000"/>
              <a:gd name="connsiteY73" fmla="*/ 7666 h 9457"/>
              <a:gd name="connsiteX74" fmla="*/ 10000 w 10000"/>
              <a:gd name="connsiteY74" fmla="*/ 8092 h 9457"/>
              <a:gd name="connsiteX75" fmla="*/ 9901 w 10000"/>
              <a:gd name="connsiteY75" fmla="*/ 8453 h 9457"/>
              <a:gd name="connsiteX76" fmla="*/ 9703 w 10000"/>
              <a:gd name="connsiteY76" fmla="*/ 8453 h 9457"/>
              <a:gd name="connsiteX77" fmla="*/ 9505 w 10000"/>
              <a:gd name="connsiteY77" fmla="*/ 8212 h 9457"/>
              <a:gd name="connsiteX78" fmla="*/ 9406 w 10000"/>
              <a:gd name="connsiteY78" fmla="*/ 7938 h 9457"/>
              <a:gd name="connsiteX79" fmla="*/ 9076 w 10000"/>
              <a:gd name="connsiteY79" fmla="*/ 7879 h 9457"/>
              <a:gd name="connsiteX80" fmla="*/ 8712 w 10000"/>
              <a:gd name="connsiteY80" fmla="*/ 7636 h 9457"/>
              <a:gd name="connsiteX81" fmla="*/ 8316 w 10000"/>
              <a:gd name="connsiteY81" fmla="*/ 7970 h 9457"/>
              <a:gd name="connsiteX82" fmla="*/ 8184 w 10000"/>
              <a:gd name="connsiteY82" fmla="*/ 8243 h 9457"/>
              <a:gd name="connsiteX83" fmla="*/ 8085 w 10000"/>
              <a:gd name="connsiteY83" fmla="*/ 8453 h 9457"/>
              <a:gd name="connsiteX84" fmla="*/ 8349 w 10000"/>
              <a:gd name="connsiteY84" fmla="*/ 8605 h 9457"/>
              <a:gd name="connsiteX85" fmla="*/ 8679 w 10000"/>
              <a:gd name="connsiteY85" fmla="*/ 8848 h 9457"/>
              <a:gd name="connsiteX86" fmla="*/ 8646 w 10000"/>
              <a:gd name="connsiteY86" fmla="*/ 9121 h 9457"/>
              <a:gd name="connsiteX87" fmla="*/ 8745 w 10000"/>
              <a:gd name="connsiteY87" fmla="*/ 9303 h 9457"/>
              <a:gd name="connsiteX88" fmla="*/ 8613 w 10000"/>
              <a:gd name="connsiteY88" fmla="*/ 9454 h 9457"/>
              <a:gd name="connsiteX89" fmla="*/ 8283 w 10000"/>
              <a:gd name="connsiteY89" fmla="*/ 9454 h 9457"/>
              <a:gd name="connsiteX0" fmla="*/ 7431 w 10000"/>
              <a:gd name="connsiteY0" fmla="*/ 8913 h 10000"/>
              <a:gd name="connsiteX1" fmla="*/ 7392 w 10000"/>
              <a:gd name="connsiteY1" fmla="*/ 8780 h 10000"/>
              <a:gd name="connsiteX2" fmla="*/ 7227 w 10000"/>
              <a:gd name="connsiteY2" fmla="*/ 8525 h 10000"/>
              <a:gd name="connsiteX3" fmla="*/ 7061 w 10000"/>
              <a:gd name="connsiteY3" fmla="*/ 8619 h 10000"/>
              <a:gd name="connsiteX4" fmla="*/ 6897 w 10000"/>
              <a:gd name="connsiteY4" fmla="*/ 8557 h 10000"/>
              <a:gd name="connsiteX5" fmla="*/ 6633 w 10000"/>
              <a:gd name="connsiteY5" fmla="*/ 8266 h 10000"/>
              <a:gd name="connsiteX6" fmla="*/ 6699 w 10000"/>
              <a:gd name="connsiteY6" fmla="*/ 8074 h 10000"/>
              <a:gd name="connsiteX7" fmla="*/ 6500 w 10000"/>
              <a:gd name="connsiteY7" fmla="*/ 7754 h 10000"/>
              <a:gd name="connsiteX8" fmla="*/ 6104 w 10000"/>
              <a:gd name="connsiteY8" fmla="*/ 7850 h 10000"/>
              <a:gd name="connsiteX9" fmla="*/ 6170 w 10000"/>
              <a:gd name="connsiteY9" fmla="*/ 7627 h 10000"/>
              <a:gd name="connsiteX10" fmla="*/ 5939 w 10000"/>
              <a:gd name="connsiteY10" fmla="*/ 7562 h 10000"/>
              <a:gd name="connsiteX11" fmla="*/ 5742 w 10000"/>
              <a:gd name="connsiteY11" fmla="*/ 7242 h 10000"/>
              <a:gd name="connsiteX12" fmla="*/ 5345 w 10000"/>
              <a:gd name="connsiteY12" fmla="*/ 6984 h 10000"/>
              <a:gd name="connsiteX13" fmla="*/ 5015 w 10000"/>
              <a:gd name="connsiteY13" fmla="*/ 6984 h 10000"/>
              <a:gd name="connsiteX14" fmla="*/ 4751 w 10000"/>
              <a:gd name="connsiteY14" fmla="*/ 6762 h 10000"/>
              <a:gd name="connsiteX15" fmla="*/ 4322 w 10000"/>
              <a:gd name="connsiteY15" fmla="*/ 6313 h 10000"/>
              <a:gd name="connsiteX16" fmla="*/ 3694 w 10000"/>
              <a:gd name="connsiteY16" fmla="*/ 5510 h 10000"/>
              <a:gd name="connsiteX17" fmla="*/ 3166 w 10000"/>
              <a:gd name="connsiteY17" fmla="*/ 4901 h 10000"/>
              <a:gd name="connsiteX18" fmla="*/ 2869 w 10000"/>
              <a:gd name="connsiteY18" fmla="*/ 4741 h 10000"/>
              <a:gd name="connsiteX19" fmla="*/ 2902 w 10000"/>
              <a:gd name="connsiteY19" fmla="*/ 4230 h 10000"/>
              <a:gd name="connsiteX20" fmla="*/ 2770 w 10000"/>
              <a:gd name="connsiteY20" fmla="*/ 3459 h 10000"/>
              <a:gd name="connsiteX21" fmla="*/ 2374 w 10000"/>
              <a:gd name="connsiteY21" fmla="*/ 3300 h 10000"/>
              <a:gd name="connsiteX22" fmla="*/ 1912 w 10000"/>
              <a:gd name="connsiteY22" fmla="*/ 2886 h 10000"/>
              <a:gd name="connsiteX23" fmla="*/ 1515 w 10000"/>
              <a:gd name="connsiteY23" fmla="*/ 2788 h 10000"/>
              <a:gd name="connsiteX24" fmla="*/ 1252 w 10000"/>
              <a:gd name="connsiteY24" fmla="*/ 3013 h 10000"/>
              <a:gd name="connsiteX25" fmla="*/ 988 w 10000"/>
              <a:gd name="connsiteY25" fmla="*/ 3268 h 10000"/>
              <a:gd name="connsiteX26" fmla="*/ 393 w 10000"/>
              <a:gd name="connsiteY26" fmla="*/ 3396 h 10000"/>
              <a:gd name="connsiteX27" fmla="*/ 327 w 10000"/>
              <a:gd name="connsiteY27" fmla="*/ 3396 h 10000"/>
              <a:gd name="connsiteX28" fmla="*/ 393 w 10000"/>
              <a:gd name="connsiteY28" fmla="*/ 3268 h 10000"/>
              <a:gd name="connsiteX29" fmla="*/ 657 w 10000"/>
              <a:gd name="connsiteY29" fmla="*/ 2915 h 10000"/>
              <a:gd name="connsiteX30" fmla="*/ 30 w 10000"/>
              <a:gd name="connsiteY30" fmla="*/ 2563 h 10000"/>
              <a:gd name="connsiteX31" fmla="*/ 30 w 10000"/>
              <a:gd name="connsiteY31" fmla="*/ 1763 h 10000"/>
              <a:gd name="connsiteX32" fmla="*/ 427 w 10000"/>
              <a:gd name="connsiteY32" fmla="*/ 1408 h 10000"/>
              <a:gd name="connsiteX33" fmla="*/ 195 w 10000"/>
              <a:gd name="connsiteY33" fmla="*/ 929 h 10000"/>
              <a:gd name="connsiteX34" fmla="*/ 492 w 10000"/>
              <a:gd name="connsiteY34" fmla="*/ 737 h 10000"/>
              <a:gd name="connsiteX35" fmla="*/ 789 w 10000"/>
              <a:gd name="connsiteY35" fmla="*/ 800 h 10000"/>
              <a:gd name="connsiteX36" fmla="*/ 1119 w 10000"/>
              <a:gd name="connsiteY36" fmla="*/ 770 h 10000"/>
              <a:gd name="connsiteX37" fmla="*/ 1549 w 10000"/>
              <a:gd name="connsiteY37" fmla="*/ 287 h 10000"/>
              <a:gd name="connsiteX38" fmla="*/ 1779 w 10000"/>
              <a:gd name="connsiteY38" fmla="*/ 353 h 10000"/>
              <a:gd name="connsiteX39" fmla="*/ 1846 w 10000"/>
              <a:gd name="connsiteY39" fmla="*/ 705 h 10000"/>
              <a:gd name="connsiteX40" fmla="*/ 1978 w 10000"/>
              <a:gd name="connsiteY40" fmla="*/ 1153 h 10000"/>
              <a:gd name="connsiteX41" fmla="*/ 2209 w 10000"/>
              <a:gd name="connsiteY41" fmla="*/ 1058 h 10000"/>
              <a:gd name="connsiteX42" fmla="*/ 2440 w 10000"/>
              <a:gd name="connsiteY42" fmla="*/ 384 h 10000"/>
              <a:gd name="connsiteX43" fmla="*/ 2836 w 10000"/>
              <a:gd name="connsiteY43" fmla="*/ 641 h 10000"/>
              <a:gd name="connsiteX44" fmla="*/ 3166 w 10000"/>
              <a:gd name="connsiteY44" fmla="*/ 513 h 10000"/>
              <a:gd name="connsiteX45" fmla="*/ 3463 w 10000"/>
              <a:gd name="connsiteY45" fmla="*/ 96 h 10000"/>
              <a:gd name="connsiteX46" fmla="*/ 3827 w 10000"/>
              <a:gd name="connsiteY46" fmla="*/ 224 h 10000"/>
              <a:gd name="connsiteX47" fmla="*/ 4222 w 10000"/>
              <a:gd name="connsiteY47" fmla="*/ 0 h 10000"/>
              <a:gd name="connsiteX48" fmla="*/ 4817 w 10000"/>
              <a:gd name="connsiteY48" fmla="*/ 33 h 10000"/>
              <a:gd name="connsiteX49" fmla="*/ 5015 w 10000"/>
              <a:gd name="connsiteY49" fmla="*/ 418 h 10000"/>
              <a:gd name="connsiteX50" fmla="*/ 5709 w 10000"/>
              <a:gd name="connsiteY50" fmla="*/ 674 h 10000"/>
              <a:gd name="connsiteX51" fmla="*/ 5973 w 10000"/>
              <a:gd name="connsiteY51" fmla="*/ 832 h 10000"/>
              <a:gd name="connsiteX52" fmla="*/ 5906 w 10000"/>
              <a:gd name="connsiteY52" fmla="*/ 1026 h 10000"/>
              <a:gd name="connsiteX53" fmla="*/ 5906 w 10000"/>
              <a:gd name="connsiteY53" fmla="*/ 1378 h 10000"/>
              <a:gd name="connsiteX54" fmla="*/ 5873 w 10000"/>
              <a:gd name="connsiteY54" fmla="*/ 1698 h 10000"/>
              <a:gd name="connsiteX55" fmla="*/ 5510 w 10000"/>
              <a:gd name="connsiteY55" fmla="*/ 1763 h 10000"/>
              <a:gd name="connsiteX56" fmla="*/ 4849 w 10000"/>
              <a:gd name="connsiteY56" fmla="*/ 1987 h 10000"/>
              <a:gd name="connsiteX57" fmla="*/ 4784 w 10000"/>
              <a:gd name="connsiteY57" fmla="*/ 2275 h 10000"/>
              <a:gd name="connsiteX58" fmla="*/ 4949 w 10000"/>
              <a:gd name="connsiteY58" fmla="*/ 2531 h 10000"/>
              <a:gd name="connsiteX59" fmla="*/ 4784 w 10000"/>
              <a:gd name="connsiteY59" fmla="*/ 2724 h 10000"/>
              <a:gd name="connsiteX60" fmla="*/ 4652 w 10000"/>
              <a:gd name="connsiteY60" fmla="*/ 2820 h 10000"/>
              <a:gd name="connsiteX61" fmla="*/ 4751 w 10000"/>
              <a:gd name="connsiteY61" fmla="*/ 3459 h 10000"/>
              <a:gd name="connsiteX62" fmla="*/ 5279 w 10000"/>
              <a:gd name="connsiteY62" fmla="*/ 3910 h 10000"/>
              <a:gd name="connsiteX63" fmla="*/ 5675 w 10000"/>
              <a:gd name="connsiteY63" fmla="*/ 4230 h 10000"/>
              <a:gd name="connsiteX64" fmla="*/ 5939 w 10000"/>
              <a:gd name="connsiteY64" fmla="*/ 5223 h 10000"/>
              <a:gd name="connsiteX65" fmla="*/ 6731 w 10000"/>
              <a:gd name="connsiteY65" fmla="*/ 6120 h 10000"/>
              <a:gd name="connsiteX66" fmla="*/ 7260 w 10000"/>
              <a:gd name="connsiteY66" fmla="*/ 6313 h 10000"/>
              <a:gd name="connsiteX67" fmla="*/ 7854 w 10000"/>
              <a:gd name="connsiteY67" fmla="*/ 6345 h 10000"/>
              <a:gd name="connsiteX68" fmla="*/ 7921 w 10000"/>
              <a:gd name="connsiteY68" fmla="*/ 6569 h 10000"/>
              <a:gd name="connsiteX69" fmla="*/ 7623 w 10000"/>
              <a:gd name="connsiteY69" fmla="*/ 6762 h 10000"/>
              <a:gd name="connsiteX70" fmla="*/ 8548 w 10000"/>
              <a:gd name="connsiteY70" fmla="*/ 7337 h 10000"/>
              <a:gd name="connsiteX71" fmla="*/ 9109 w 10000"/>
              <a:gd name="connsiteY71" fmla="*/ 7690 h 10000"/>
              <a:gd name="connsiteX72" fmla="*/ 9505 w 10000"/>
              <a:gd name="connsiteY72" fmla="*/ 7883 h 10000"/>
              <a:gd name="connsiteX73" fmla="*/ 9637 w 10000"/>
              <a:gd name="connsiteY73" fmla="*/ 8106 h 10000"/>
              <a:gd name="connsiteX74" fmla="*/ 10000 w 10000"/>
              <a:gd name="connsiteY74" fmla="*/ 8557 h 10000"/>
              <a:gd name="connsiteX75" fmla="*/ 9901 w 10000"/>
              <a:gd name="connsiteY75" fmla="*/ 8938 h 10000"/>
              <a:gd name="connsiteX76" fmla="*/ 9703 w 10000"/>
              <a:gd name="connsiteY76" fmla="*/ 8938 h 10000"/>
              <a:gd name="connsiteX77" fmla="*/ 9505 w 10000"/>
              <a:gd name="connsiteY77" fmla="*/ 8684 h 10000"/>
              <a:gd name="connsiteX78" fmla="*/ 9406 w 10000"/>
              <a:gd name="connsiteY78" fmla="*/ 8394 h 10000"/>
              <a:gd name="connsiteX79" fmla="*/ 9076 w 10000"/>
              <a:gd name="connsiteY79" fmla="*/ 8331 h 10000"/>
              <a:gd name="connsiteX80" fmla="*/ 8712 w 10000"/>
              <a:gd name="connsiteY80" fmla="*/ 8074 h 10000"/>
              <a:gd name="connsiteX81" fmla="*/ 8316 w 10000"/>
              <a:gd name="connsiteY81" fmla="*/ 8428 h 10000"/>
              <a:gd name="connsiteX82" fmla="*/ 8184 w 10000"/>
              <a:gd name="connsiteY82" fmla="*/ 8716 h 10000"/>
              <a:gd name="connsiteX83" fmla="*/ 8085 w 10000"/>
              <a:gd name="connsiteY83" fmla="*/ 8938 h 10000"/>
              <a:gd name="connsiteX84" fmla="*/ 8349 w 10000"/>
              <a:gd name="connsiteY84" fmla="*/ 9099 h 10000"/>
              <a:gd name="connsiteX85" fmla="*/ 8679 w 10000"/>
              <a:gd name="connsiteY85" fmla="*/ 9356 h 10000"/>
              <a:gd name="connsiteX86" fmla="*/ 8646 w 10000"/>
              <a:gd name="connsiteY86" fmla="*/ 9645 h 10000"/>
              <a:gd name="connsiteX87" fmla="*/ 8745 w 10000"/>
              <a:gd name="connsiteY87" fmla="*/ 9837 h 10000"/>
              <a:gd name="connsiteX88" fmla="*/ 8613 w 10000"/>
              <a:gd name="connsiteY88" fmla="*/ 9997 h 10000"/>
              <a:gd name="connsiteX0" fmla="*/ 7431 w 10000"/>
              <a:gd name="connsiteY0" fmla="*/ 8913 h 9837"/>
              <a:gd name="connsiteX1" fmla="*/ 7392 w 10000"/>
              <a:gd name="connsiteY1" fmla="*/ 8780 h 9837"/>
              <a:gd name="connsiteX2" fmla="*/ 7227 w 10000"/>
              <a:gd name="connsiteY2" fmla="*/ 8525 h 9837"/>
              <a:gd name="connsiteX3" fmla="*/ 7061 w 10000"/>
              <a:gd name="connsiteY3" fmla="*/ 8619 h 9837"/>
              <a:gd name="connsiteX4" fmla="*/ 6897 w 10000"/>
              <a:gd name="connsiteY4" fmla="*/ 8557 h 9837"/>
              <a:gd name="connsiteX5" fmla="*/ 6633 w 10000"/>
              <a:gd name="connsiteY5" fmla="*/ 8266 h 9837"/>
              <a:gd name="connsiteX6" fmla="*/ 6699 w 10000"/>
              <a:gd name="connsiteY6" fmla="*/ 8074 h 9837"/>
              <a:gd name="connsiteX7" fmla="*/ 6500 w 10000"/>
              <a:gd name="connsiteY7" fmla="*/ 7754 h 9837"/>
              <a:gd name="connsiteX8" fmla="*/ 6104 w 10000"/>
              <a:gd name="connsiteY8" fmla="*/ 7850 h 9837"/>
              <a:gd name="connsiteX9" fmla="*/ 6170 w 10000"/>
              <a:gd name="connsiteY9" fmla="*/ 7627 h 9837"/>
              <a:gd name="connsiteX10" fmla="*/ 5939 w 10000"/>
              <a:gd name="connsiteY10" fmla="*/ 7562 h 9837"/>
              <a:gd name="connsiteX11" fmla="*/ 5742 w 10000"/>
              <a:gd name="connsiteY11" fmla="*/ 7242 h 9837"/>
              <a:gd name="connsiteX12" fmla="*/ 5345 w 10000"/>
              <a:gd name="connsiteY12" fmla="*/ 6984 h 9837"/>
              <a:gd name="connsiteX13" fmla="*/ 5015 w 10000"/>
              <a:gd name="connsiteY13" fmla="*/ 6984 h 9837"/>
              <a:gd name="connsiteX14" fmla="*/ 4751 w 10000"/>
              <a:gd name="connsiteY14" fmla="*/ 6762 h 9837"/>
              <a:gd name="connsiteX15" fmla="*/ 4322 w 10000"/>
              <a:gd name="connsiteY15" fmla="*/ 6313 h 9837"/>
              <a:gd name="connsiteX16" fmla="*/ 3694 w 10000"/>
              <a:gd name="connsiteY16" fmla="*/ 5510 h 9837"/>
              <a:gd name="connsiteX17" fmla="*/ 3166 w 10000"/>
              <a:gd name="connsiteY17" fmla="*/ 4901 h 9837"/>
              <a:gd name="connsiteX18" fmla="*/ 2869 w 10000"/>
              <a:gd name="connsiteY18" fmla="*/ 4741 h 9837"/>
              <a:gd name="connsiteX19" fmla="*/ 2902 w 10000"/>
              <a:gd name="connsiteY19" fmla="*/ 4230 h 9837"/>
              <a:gd name="connsiteX20" fmla="*/ 2770 w 10000"/>
              <a:gd name="connsiteY20" fmla="*/ 3459 h 9837"/>
              <a:gd name="connsiteX21" fmla="*/ 2374 w 10000"/>
              <a:gd name="connsiteY21" fmla="*/ 3300 h 9837"/>
              <a:gd name="connsiteX22" fmla="*/ 1912 w 10000"/>
              <a:gd name="connsiteY22" fmla="*/ 2886 h 9837"/>
              <a:gd name="connsiteX23" fmla="*/ 1515 w 10000"/>
              <a:gd name="connsiteY23" fmla="*/ 2788 h 9837"/>
              <a:gd name="connsiteX24" fmla="*/ 1252 w 10000"/>
              <a:gd name="connsiteY24" fmla="*/ 3013 h 9837"/>
              <a:gd name="connsiteX25" fmla="*/ 988 w 10000"/>
              <a:gd name="connsiteY25" fmla="*/ 3268 h 9837"/>
              <a:gd name="connsiteX26" fmla="*/ 393 w 10000"/>
              <a:gd name="connsiteY26" fmla="*/ 3396 h 9837"/>
              <a:gd name="connsiteX27" fmla="*/ 327 w 10000"/>
              <a:gd name="connsiteY27" fmla="*/ 3396 h 9837"/>
              <a:gd name="connsiteX28" fmla="*/ 393 w 10000"/>
              <a:gd name="connsiteY28" fmla="*/ 3268 h 9837"/>
              <a:gd name="connsiteX29" fmla="*/ 657 w 10000"/>
              <a:gd name="connsiteY29" fmla="*/ 2915 h 9837"/>
              <a:gd name="connsiteX30" fmla="*/ 30 w 10000"/>
              <a:gd name="connsiteY30" fmla="*/ 2563 h 9837"/>
              <a:gd name="connsiteX31" fmla="*/ 30 w 10000"/>
              <a:gd name="connsiteY31" fmla="*/ 1763 h 9837"/>
              <a:gd name="connsiteX32" fmla="*/ 427 w 10000"/>
              <a:gd name="connsiteY32" fmla="*/ 1408 h 9837"/>
              <a:gd name="connsiteX33" fmla="*/ 195 w 10000"/>
              <a:gd name="connsiteY33" fmla="*/ 929 h 9837"/>
              <a:gd name="connsiteX34" fmla="*/ 492 w 10000"/>
              <a:gd name="connsiteY34" fmla="*/ 737 h 9837"/>
              <a:gd name="connsiteX35" fmla="*/ 789 w 10000"/>
              <a:gd name="connsiteY35" fmla="*/ 800 h 9837"/>
              <a:gd name="connsiteX36" fmla="*/ 1119 w 10000"/>
              <a:gd name="connsiteY36" fmla="*/ 770 h 9837"/>
              <a:gd name="connsiteX37" fmla="*/ 1549 w 10000"/>
              <a:gd name="connsiteY37" fmla="*/ 287 h 9837"/>
              <a:gd name="connsiteX38" fmla="*/ 1779 w 10000"/>
              <a:gd name="connsiteY38" fmla="*/ 353 h 9837"/>
              <a:gd name="connsiteX39" fmla="*/ 1846 w 10000"/>
              <a:gd name="connsiteY39" fmla="*/ 705 h 9837"/>
              <a:gd name="connsiteX40" fmla="*/ 1978 w 10000"/>
              <a:gd name="connsiteY40" fmla="*/ 1153 h 9837"/>
              <a:gd name="connsiteX41" fmla="*/ 2209 w 10000"/>
              <a:gd name="connsiteY41" fmla="*/ 1058 h 9837"/>
              <a:gd name="connsiteX42" fmla="*/ 2440 w 10000"/>
              <a:gd name="connsiteY42" fmla="*/ 384 h 9837"/>
              <a:gd name="connsiteX43" fmla="*/ 2836 w 10000"/>
              <a:gd name="connsiteY43" fmla="*/ 641 h 9837"/>
              <a:gd name="connsiteX44" fmla="*/ 3166 w 10000"/>
              <a:gd name="connsiteY44" fmla="*/ 513 h 9837"/>
              <a:gd name="connsiteX45" fmla="*/ 3463 w 10000"/>
              <a:gd name="connsiteY45" fmla="*/ 96 h 9837"/>
              <a:gd name="connsiteX46" fmla="*/ 3827 w 10000"/>
              <a:gd name="connsiteY46" fmla="*/ 224 h 9837"/>
              <a:gd name="connsiteX47" fmla="*/ 4222 w 10000"/>
              <a:gd name="connsiteY47" fmla="*/ 0 h 9837"/>
              <a:gd name="connsiteX48" fmla="*/ 4817 w 10000"/>
              <a:gd name="connsiteY48" fmla="*/ 33 h 9837"/>
              <a:gd name="connsiteX49" fmla="*/ 5015 w 10000"/>
              <a:gd name="connsiteY49" fmla="*/ 418 h 9837"/>
              <a:gd name="connsiteX50" fmla="*/ 5709 w 10000"/>
              <a:gd name="connsiteY50" fmla="*/ 674 h 9837"/>
              <a:gd name="connsiteX51" fmla="*/ 5973 w 10000"/>
              <a:gd name="connsiteY51" fmla="*/ 832 h 9837"/>
              <a:gd name="connsiteX52" fmla="*/ 5906 w 10000"/>
              <a:gd name="connsiteY52" fmla="*/ 1026 h 9837"/>
              <a:gd name="connsiteX53" fmla="*/ 5906 w 10000"/>
              <a:gd name="connsiteY53" fmla="*/ 1378 h 9837"/>
              <a:gd name="connsiteX54" fmla="*/ 5873 w 10000"/>
              <a:gd name="connsiteY54" fmla="*/ 1698 h 9837"/>
              <a:gd name="connsiteX55" fmla="*/ 5510 w 10000"/>
              <a:gd name="connsiteY55" fmla="*/ 1763 h 9837"/>
              <a:gd name="connsiteX56" fmla="*/ 4849 w 10000"/>
              <a:gd name="connsiteY56" fmla="*/ 1987 h 9837"/>
              <a:gd name="connsiteX57" fmla="*/ 4784 w 10000"/>
              <a:gd name="connsiteY57" fmla="*/ 2275 h 9837"/>
              <a:gd name="connsiteX58" fmla="*/ 4949 w 10000"/>
              <a:gd name="connsiteY58" fmla="*/ 2531 h 9837"/>
              <a:gd name="connsiteX59" fmla="*/ 4784 w 10000"/>
              <a:gd name="connsiteY59" fmla="*/ 2724 h 9837"/>
              <a:gd name="connsiteX60" fmla="*/ 4652 w 10000"/>
              <a:gd name="connsiteY60" fmla="*/ 2820 h 9837"/>
              <a:gd name="connsiteX61" fmla="*/ 4751 w 10000"/>
              <a:gd name="connsiteY61" fmla="*/ 3459 h 9837"/>
              <a:gd name="connsiteX62" fmla="*/ 5279 w 10000"/>
              <a:gd name="connsiteY62" fmla="*/ 3910 h 9837"/>
              <a:gd name="connsiteX63" fmla="*/ 5675 w 10000"/>
              <a:gd name="connsiteY63" fmla="*/ 4230 h 9837"/>
              <a:gd name="connsiteX64" fmla="*/ 5939 w 10000"/>
              <a:gd name="connsiteY64" fmla="*/ 5223 h 9837"/>
              <a:gd name="connsiteX65" fmla="*/ 6731 w 10000"/>
              <a:gd name="connsiteY65" fmla="*/ 6120 h 9837"/>
              <a:gd name="connsiteX66" fmla="*/ 7260 w 10000"/>
              <a:gd name="connsiteY66" fmla="*/ 6313 h 9837"/>
              <a:gd name="connsiteX67" fmla="*/ 7854 w 10000"/>
              <a:gd name="connsiteY67" fmla="*/ 6345 h 9837"/>
              <a:gd name="connsiteX68" fmla="*/ 7921 w 10000"/>
              <a:gd name="connsiteY68" fmla="*/ 6569 h 9837"/>
              <a:gd name="connsiteX69" fmla="*/ 7623 w 10000"/>
              <a:gd name="connsiteY69" fmla="*/ 6762 h 9837"/>
              <a:gd name="connsiteX70" fmla="*/ 8548 w 10000"/>
              <a:gd name="connsiteY70" fmla="*/ 7337 h 9837"/>
              <a:gd name="connsiteX71" fmla="*/ 9109 w 10000"/>
              <a:gd name="connsiteY71" fmla="*/ 7690 h 9837"/>
              <a:gd name="connsiteX72" fmla="*/ 9505 w 10000"/>
              <a:gd name="connsiteY72" fmla="*/ 7883 h 9837"/>
              <a:gd name="connsiteX73" fmla="*/ 9637 w 10000"/>
              <a:gd name="connsiteY73" fmla="*/ 8106 h 9837"/>
              <a:gd name="connsiteX74" fmla="*/ 10000 w 10000"/>
              <a:gd name="connsiteY74" fmla="*/ 8557 h 9837"/>
              <a:gd name="connsiteX75" fmla="*/ 9901 w 10000"/>
              <a:gd name="connsiteY75" fmla="*/ 8938 h 9837"/>
              <a:gd name="connsiteX76" fmla="*/ 9703 w 10000"/>
              <a:gd name="connsiteY76" fmla="*/ 8938 h 9837"/>
              <a:gd name="connsiteX77" fmla="*/ 9505 w 10000"/>
              <a:gd name="connsiteY77" fmla="*/ 8684 h 9837"/>
              <a:gd name="connsiteX78" fmla="*/ 9406 w 10000"/>
              <a:gd name="connsiteY78" fmla="*/ 8394 h 9837"/>
              <a:gd name="connsiteX79" fmla="*/ 9076 w 10000"/>
              <a:gd name="connsiteY79" fmla="*/ 8331 h 9837"/>
              <a:gd name="connsiteX80" fmla="*/ 8712 w 10000"/>
              <a:gd name="connsiteY80" fmla="*/ 8074 h 9837"/>
              <a:gd name="connsiteX81" fmla="*/ 8316 w 10000"/>
              <a:gd name="connsiteY81" fmla="*/ 8428 h 9837"/>
              <a:gd name="connsiteX82" fmla="*/ 8184 w 10000"/>
              <a:gd name="connsiteY82" fmla="*/ 8716 h 9837"/>
              <a:gd name="connsiteX83" fmla="*/ 8085 w 10000"/>
              <a:gd name="connsiteY83" fmla="*/ 8938 h 9837"/>
              <a:gd name="connsiteX84" fmla="*/ 8349 w 10000"/>
              <a:gd name="connsiteY84" fmla="*/ 9099 h 9837"/>
              <a:gd name="connsiteX85" fmla="*/ 8679 w 10000"/>
              <a:gd name="connsiteY85" fmla="*/ 9356 h 9837"/>
              <a:gd name="connsiteX86" fmla="*/ 8646 w 10000"/>
              <a:gd name="connsiteY86" fmla="*/ 9645 h 9837"/>
              <a:gd name="connsiteX87" fmla="*/ 8745 w 10000"/>
              <a:gd name="connsiteY87" fmla="*/ 9837 h 9837"/>
              <a:gd name="connsiteX0" fmla="*/ 7431 w 10000"/>
              <a:gd name="connsiteY0" fmla="*/ 9061 h 9805"/>
              <a:gd name="connsiteX1" fmla="*/ 7392 w 10000"/>
              <a:gd name="connsiteY1" fmla="*/ 8925 h 9805"/>
              <a:gd name="connsiteX2" fmla="*/ 7227 w 10000"/>
              <a:gd name="connsiteY2" fmla="*/ 8666 h 9805"/>
              <a:gd name="connsiteX3" fmla="*/ 7061 w 10000"/>
              <a:gd name="connsiteY3" fmla="*/ 8762 h 9805"/>
              <a:gd name="connsiteX4" fmla="*/ 6897 w 10000"/>
              <a:gd name="connsiteY4" fmla="*/ 8699 h 9805"/>
              <a:gd name="connsiteX5" fmla="*/ 6633 w 10000"/>
              <a:gd name="connsiteY5" fmla="*/ 8403 h 9805"/>
              <a:gd name="connsiteX6" fmla="*/ 6699 w 10000"/>
              <a:gd name="connsiteY6" fmla="*/ 8208 h 9805"/>
              <a:gd name="connsiteX7" fmla="*/ 6500 w 10000"/>
              <a:gd name="connsiteY7" fmla="*/ 7882 h 9805"/>
              <a:gd name="connsiteX8" fmla="*/ 6104 w 10000"/>
              <a:gd name="connsiteY8" fmla="*/ 7980 h 9805"/>
              <a:gd name="connsiteX9" fmla="*/ 6170 w 10000"/>
              <a:gd name="connsiteY9" fmla="*/ 7753 h 9805"/>
              <a:gd name="connsiteX10" fmla="*/ 5939 w 10000"/>
              <a:gd name="connsiteY10" fmla="*/ 7687 h 9805"/>
              <a:gd name="connsiteX11" fmla="*/ 5742 w 10000"/>
              <a:gd name="connsiteY11" fmla="*/ 7362 h 9805"/>
              <a:gd name="connsiteX12" fmla="*/ 5345 w 10000"/>
              <a:gd name="connsiteY12" fmla="*/ 7100 h 9805"/>
              <a:gd name="connsiteX13" fmla="*/ 5015 w 10000"/>
              <a:gd name="connsiteY13" fmla="*/ 7100 h 9805"/>
              <a:gd name="connsiteX14" fmla="*/ 4751 w 10000"/>
              <a:gd name="connsiteY14" fmla="*/ 6874 h 9805"/>
              <a:gd name="connsiteX15" fmla="*/ 4322 w 10000"/>
              <a:gd name="connsiteY15" fmla="*/ 6418 h 9805"/>
              <a:gd name="connsiteX16" fmla="*/ 3694 w 10000"/>
              <a:gd name="connsiteY16" fmla="*/ 5601 h 9805"/>
              <a:gd name="connsiteX17" fmla="*/ 3166 w 10000"/>
              <a:gd name="connsiteY17" fmla="*/ 4982 h 9805"/>
              <a:gd name="connsiteX18" fmla="*/ 2869 w 10000"/>
              <a:gd name="connsiteY18" fmla="*/ 4820 h 9805"/>
              <a:gd name="connsiteX19" fmla="*/ 2902 w 10000"/>
              <a:gd name="connsiteY19" fmla="*/ 4300 h 9805"/>
              <a:gd name="connsiteX20" fmla="*/ 2770 w 10000"/>
              <a:gd name="connsiteY20" fmla="*/ 3516 h 9805"/>
              <a:gd name="connsiteX21" fmla="*/ 2374 w 10000"/>
              <a:gd name="connsiteY21" fmla="*/ 3355 h 9805"/>
              <a:gd name="connsiteX22" fmla="*/ 1912 w 10000"/>
              <a:gd name="connsiteY22" fmla="*/ 2934 h 9805"/>
              <a:gd name="connsiteX23" fmla="*/ 1515 w 10000"/>
              <a:gd name="connsiteY23" fmla="*/ 2834 h 9805"/>
              <a:gd name="connsiteX24" fmla="*/ 1252 w 10000"/>
              <a:gd name="connsiteY24" fmla="*/ 3063 h 9805"/>
              <a:gd name="connsiteX25" fmla="*/ 988 w 10000"/>
              <a:gd name="connsiteY25" fmla="*/ 3322 h 9805"/>
              <a:gd name="connsiteX26" fmla="*/ 393 w 10000"/>
              <a:gd name="connsiteY26" fmla="*/ 3452 h 9805"/>
              <a:gd name="connsiteX27" fmla="*/ 327 w 10000"/>
              <a:gd name="connsiteY27" fmla="*/ 3452 h 9805"/>
              <a:gd name="connsiteX28" fmla="*/ 393 w 10000"/>
              <a:gd name="connsiteY28" fmla="*/ 3322 h 9805"/>
              <a:gd name="connsiteX29" fmla="*/ 657 w 10000"/>
              <a:gd name="connsiteY29" fmla="*/ 2963 h 9805"/>
              <a:gd name="connsiteX30" fmla="*/ 30 w 10000"/>
              <a:gd name="connsiteY30" fmla="*/ 2605 h 9805"/>
              <a:gd name="connsiteX31" fmla="*/ 30 w 10000"/>
              <a:gd name="connsiteY31" fmla="*/ 1792 h 9805"/>
              <a:gd name="connsiteX32" fmla="*/ 427 w 10000"/>
              <a:gd name="connsiteY32" fmla="*/ 1431 h 9805"/>
              <a:gd name="connsiteX33" fmla="*/ 195 w 10000"/>
              <a:gd name="connsiteY33" fmla="*/ 944 h 9805"/>
              <a:gd name="connsiteX34" fmla="*/ 492 w 10000"/>
              <a:gd name="connsiteY34" fmla="*/ 749 h 9805"/>
              <a:gd name="connsiteX35" fmla="*/ 789 w 10000"/>
              <a:gd name="connsiteY35" fmla="*/ 813 h 9805"/>
              <a:gd name="connsiteX36" fmla="*/ 1119 w 10000"/>
              <a:gd name="connsiteY36" fmla="*/ 783 h 9805"/>
              <a:gd name="connsiteX37" fmla="*/ 1549 w 10000"/>
              <a:gd name="connsiteY37" fmla="*/ 292 h 9805"/>
              <a:gd name="connsiteX38" fmla="*/ 1779 w 10000"/>
              <a:gd name="connsiteY38" fmla="*/ 359 h 9805"/>
              <a:gd name="connsiteX39" fmla="*/ 1846 w 10000"/>
              <a:gd name="connsiteY39" fmla="*/ 717 h 9805"/>
              <a:gd name="connsiteX40" fmla="*/ 1978 w 10000"/>
              <a:gd name="connsiteY40" fmla="*/ 1172 h 9805"/>
              <a:gd name="connsiteX41" fmla="*/ 2209 w 10000"/>
              <a:gd name="connsiteY41" fmla="*/ 1076 h 9805"/>
              <a:gd name="connsiteX42" fmla="*/ 2440 w 10000"/>
              <a:gd name="connsiteY42" fmla="*/ 390 h 9805"/>
              <a:gd name="connsiteX43" fmla="*/ 2836 w 10000"/>
              <a:gd name="connsiteY43" fmla="*/ 652 h 9805"/>
              <a:gd name="connsiteX44" fmla="*/ 3166 w 10000"/>
              <a:gd name="connsiteY44" fmla="*/ 522 h 9805"/>
              <a:gd name="connsiteX45" fmla="*/ 3463 w 10000"/>
              <a:gd name="connsiteY45" fmla="*/ 98 h 9805"/>
              <a:gd name="connsiteX46" fmla="*/ 3827 w 10000"/>
              <a:gd name="connsiteY46" fmla="*/ 228 h 9805"/>
              <a:gd name="connsiteX47" fmla="*/ 4222 w 10000"/>
              <a:gd name="connsiteY47" fmla="*/ 0 h 9805"/>
              <a:gd name="connsiteX48" fmla="*/ 4817 w 10000"/>
              <a:gd name="connsiteY48" fmla="*/ 34 h 9805"/>
              <a:gd name="connsiteX49" fmla="*/ 5015 w 10000"/>
              <a:gd name="connsiteY49" fmla="*/ 425 h 9805"/>
              <a:gd name="connsiteX50" fmla="*/ 5709 w 10000"/>
              <a:gd name="connsiteY50" fmla="*/ 685 h 9805"/>
              <a:gd name="connsiteX51" fmla="*/ 5973 w 10000"/>
              <a:gd name="connsiteY51" fmla="*/ 846 h 9805"/>
              <a:gd name="connsiteX52" fmla="*/ 5906 w 10000"/>
              <a:gd name="connsiteY52" fmla="*/ 1043 h 9805"/>
              <a:gd name="connsiteX53" fmla="*/ 5906 w 10000"/>
              <a:gd name="connsiteY53" fmla="*/ 1401 h 9805"/>
              <a:gd name="connsiteX54" fmla="*/ 5873 w 10000"/>
              <a:gd name="connsiteY54" fmla="*/ 1726 h 9805"/>
              <a:gd name="connsiteX55" fmla="*/ 5510 w 10000"/>
              <a:gd name="connsiteY55" fmla="*/ 1792 h 9805"/>
              <a:gd name="connsiteX56" fmla="*/ 4849 w 10000"/>
              <a:gd name="connsiteY56" fmla="*/ 2020 h 9805"/>
              <a:gd name="connsiteX57" fmla="*/ 4784 w 10000"/>
              <a:gd name="connsiteY57" fmla="*/ 2313 h 9805"/>
              <a:gd name="connsiteX58" fmla="*/ 4949 w 10000"/>
              <a:gd name="connsiteY58" fmla="*/ 2573 h 9805"/>
              <a:gd name="connsiteX59" fmla="*/ 4784 w 10000"/>
              <a:gd name="connsiteY59" fmla="*/ 2769 h 9805"/>
              <a:gd name="connsiteX60" fmla="*/ 4652 w 10000"/>
              <a:gd name="connsiteY60" fmla="*/ 2867 h 9805"/>
              <a:gd name="connsiteX61" fmla="*/ 4751 w 10000"/>
              <a:gd name="connsiteY61" fmla="*/ 3516 h 9805"/>
              <a:gd name="connsiteX62" fmla="*/ 5279 w 10000"/>
              <a:gd name="connsiteY62" fmla="*/ 3975 h 9805"/>
              <a:gd name="connsiteX63" fmla="*/ 5675 w 10000"/>
              <a:gd name="connsiteY63" fmla="*/ 4300 h 9805"/>
              <a:gd name="connsiteX64" fmla="*/ 5939 w 10000"/>
              <a:gd name="connsiteY64" fmla="*/ 5310 h 9805"/>
              <a:gd name="connsiteX65" fmla="*/ 6731 w 10000"/>
              <a:gd name="connsiteY65" fmla="*/ 6221 h 9805"/>
              <a:gd name="connsiteX66" fmla="*/ 7260 w 10000"/>
              <a:gd name="connsiteY66" fmla="*/ 6418 h 9805"/>
              <a:gd name="connsiteX67" fmla="*/ 7854 w 10000"/>
              <a:gd name="connsiteY67" fmla="*/ 6450 h 9805"/>
              <a:gd name="connsiteX68" fmla="*/ 7921 w 10000"/>
              <a:gd name="connsiteY68" fmla="*/ 6678 h 9805"/>
              <a:gd name="connsiteX69" fmla="*/ 7623 w 10000"/>
              <a:gd name="connsiteY69" fmla="*/ 6874 h 9805"/>
              <a:gd name="connsiteX70" fmla="*/ 8548 w 10000"/>
              <a:gd name="connsiteY70" fmla="*/ 7459 h 9805"/>
              <a:gd name="connsiteX71" fmla="*/ 9109 w 10000"/>
              <a:gd name="connsiteY71" fmla="*/ 7817 h 9805"/>
              <a:gd name="connsiteX72" fmla="*/ 9505 w 10000"/>
              <a:gd name="connsiteY72" fmla="*/ 8014 h 9805"/>
              <a:gd name="connsiteX73" fmla="*/ 9637 w 10000"/>
              <a:gd name="connsiteY73" fmla="*/ 8240 h 9805"/>
              <a:gd name="connsiteX74" fmla="*/ 10000 w 10000"/>
              <a:gd name="connsiteY74" fmla="*/ 8699 h 9805"/>
              <a:gd name="connsiteX75" fmla="*/ 9901 w 10000"/>
              <a:gd name="connsiteY75" fmla="*/ 9086 h 9805"/>
              <a:gd name="connsiteX76" fmla="*/ 9703 w 10000"/>
              <a:gd name="connsiteY76" fmla="*/ 9086 h 9805"/>
              <a:gd name="connsiteX77" fmla="*/ 9505 w 10000"/>
              <a:gd name="connsiteY77" fmla="*/ 8828 h 9805"/>
              <a:gd name="connsiteX78" fmla="*/ 9406 w 10000"/>
              <a:gd name="connsiteY78" fmla="*/ 8533 h 9805"/>
              <a:gd name="connsiteX79" fmla="*/ 9076 w 10000"/>
              <a:gd name="connsiteY79" fmla="*/ 8469 h 9805"/>
              <a:gd name="connsiteX80" fmla="*/ 8712 w 10000"/>
              <a:gd name="connsiteY80" fmla="*/ 8208 h 9805"/>
              <a:gd name="connsiteX81" fmla="*/ 8316 w 10000"/>
              <a:gd name="connsiteY81" fmla="*/ 8568 h 9805"/>
              <a:gd name="connsiteX82" fmla="*/ 8184 w 10000"/>
              <a:gd name="connsiteY82" fmla="*/ 8860 h 9805"/>
              <a:gd name="connsiteX83" fmla="*/ 8085 w 10000"/>
              <a:gd name="connsiteY83" fmla="*/ 9086 h 9805"/>
              <a:gd name="connsiteX84" fmla="*/ 8349 w 10000"/>
              <a:gd name="connsiteY84" fmla="*/ 9250 h 9805"/>
              <a:gd name="connsiteX85" fmla="*/ 8679 w 10000"/>
              <a:gd name="connsiteY85" fmla="*/ 9511 h 9805"/>
              <a:gd name="connsiteX86" fmla="*/ 8646 w 10000"/>
              <a:gd name="connsiteY86" fmla="*/ 9805 h 9805"/>
              <a:gd name="connsiteX0" fmla="*/ 7431 w 10000"/>
              <a:gd name="connsiteY0" fmla="*/ 9241 h 9700"/>
              <a:gd name="connsiteX1" fmla="*/ 7392 w 10000"/>
              <a:gd name="connsiteY1" fmla="*/ 9102 h 9700"/>
              <a:gd name="connsiteX2" fmla="*/ 7227 w 10000"/>
              <a:gd name="connsiteY2" fmla="*/ 8838 h 9700"/>
              <a:gd name="connsiteX3" fmla="*/ 7061 w 10000"/>
              <a:gd name="connsiteY3" fmla="*/ 8936 h 9700"/>
              <a:gd name="connsiteX4" fmla="*/ 6897 w 10000"/>
              <a:gd name="connsiteY4" fmla="*/ 8872 h 9700"/>
              <a:gd name="connsiteX5" fmla="*/ 6633 w 10000"/>
              <a:gd name="connsiteY5" fmla="*/ 8570 h 9700"/>
              <a:gd name="connsiteX6" fmla="*/ 6699 w 10000"/>
              <a:gd name="connsiteY6" fmla="*/ 8371 h 9700"/>
              <a:gd name="connsiteX7" fmla="*/ 6500 w 10000"/>
              <a:gd name="connsiteY7" fmla="*/ 8039 h 9700"/>
              <a:gd name="connsiteX8" fmla="*/ 6104 w 10000"/>
              <a:gd name="connsiteY8" fmla="*/ 8139 h 9700"/>
              <a:gd name="connsiteX9" fmla="*/ 6170 w 10000"/>
              <a:gd name="connsiteY9" fmla="*/ 7907 h 9700"/>
              <a:gd name="connsiteX10" fmla="*/ 5939 w 10000"/>
              <a:gd name="connsiteY10" fmla="*/ 7840 h 9700"/>
              <a:gd name="connsiteX11" fmla="*/ 5742 w 10000"/>
              <a:gd name="connsiteY11" fmla="*/ 7508 h 9700"/>
              <a:gd name="connsiteX12" fmla="*/ 5345 w 10000"/>
              <a:gd name="connsiteY12" fmla="*/ 7241 h 9700"/>
              <a:gd name="connsiteX13" fmla="*/ 5015 w 10000"/>
              <a:gd name="connsiteY13" fmla="*/ 7241 h 9700"/>
              <a:gd name="connsiteX14" fmla="*/ 4751 w 10000"/>
              <a:gd name="connsiteY14" fmla="*/ 7011 h 9700"/>
              <a:gd name="connsiteX15" fmla="*/ 4322 w 10000"/>
              <a:gd name="connsiteY15" fmla="*/ 6546 h 9700"/>
              <a:gd name="connsiteX16" fmla="*/ 3694 w 10000"/>
              <a:gd name="connsiteY16" fmla="*/ 5712 h 9700"/>
              <a:gd name="connsiteX17" fmla="*/ 3166 w 10000"/>
              <a:gd name="connsiteY17" fmla="*/ 5081 h 9700"/>
              <a:gd name="connsiteX18" fmla="*/ 2869 w 10000"/>
              <a:gd name="connsiteY18" fmla="*/ 4916 h 9700"/>
              <a:gd name="connsiteX19" fmla="*/ 2902 w 10000"/>
              <a:gd name="connsiteY19" fmla="*/ 4386 h 9700"/>
              <a:gd name="connsiteX20" fmla="*/ 2770 w 10000"/>
              <a:gd name="connsiteY20" fmla="*/ 3586 h 9700"/>
              <a:gd name="connsiteX21" fmla="*/ 2374 w 10000"/>
              <a:gd name="connsiteY21" fmla="*/ 3422 h 9700"/>
              <a:gd name="connsiteX22" fmla="*/ 1912 w 10000"/>
              <a:gd name="connsiteY22" fmla="*/ 2992 h 9700"/>
              <a:gd name="connsiteX23" fmla="*/ 1515 w 10000"/>
              <a:gd name="connsiteY23" fmla="*/ 2890 h 9700"/>
              <a:gd name="connsiteX24" fmla="*/ 1252 w 10000"/>
              <a:gd name="connsiteY24" fmla="*/ 3124 h 9700"/>
              <a:gd name="connsiteX25" fmla="*/ 988 w 10000"/>
              <a:gd name="connsiteY25" fmla="*/ 3388 h 9700"/>
              <a:gd name="connsiteX26" fmla="*/ 393 w 10000"/>
              <a:gd name="connsiteY26" fmla="*/ 3521 h 9700"/>
              <a:gd name="connsiteX27" fmla="*/ 327 w 10000"/>
              <a:gd name="connsiteY27" fmla="*/ 3521 h 9700"/>
              <a:gd name="connsiteX28" fmla="*/ 393 w 10000"/>
              <a:gd name="connsiteY28" fmla="*/ 3388 h 9700"/>
              <a:gd name="connsiteX29" fmla="*/ 657 w 10000"/>
              <a:gd name="connsiteY29" fmla="*/ 3022 h 9700"/>
              <a:gd name="connsiteX30" fmla="*/ 30 w 10000"/>
              <a:gd name="connsiteY30" fmla="*/ 2657 h 9700"/>
              <a:gd name="connsiteX31" fmla="*/ 30 w 10000"/>
              <a:gd name="connsiteY31" fmla="*/ 1828 h 9700"/>
              <a:gd name="connsiteX32" fmla="*/ 427 w 10000"/>
              <a:gd name="connsiteY32" fmla="*/ 1459 h 9700"/>
              <a:gd name="connsiteX33" fmla="*/ 195 w 10000"/>
              <a:gd name="connsiteY33" fmla="*/ 963 h 9700"/>
              <a:gd name="connsiteX34" fmla="*/ 492 w 10000"/>
              <a:gd name="connsiteY34" fmla="*/ 764 h 9700"/>
              <a:gd name="connsiteX35" fmla="*/ 789 w 10000"/>
              <a:gd name="connsiteY35" fmla="*/ 829 h 9700"/>
              <a:gd name="connsiteX36" fmla="*/ 1119 w 10000"/>
              <a:gd name="connsiteY36" fmla="*/ 799 h 9700"/>
              <a:gd name="connsiteX37" fmla="*/ 1549 w 10000"/>
              <a:gd name="connsiteY37" fmla="*/ 298 h 9700"/>
              <a:gd name="connsiteX38" fmla="*/ 1779 w 10000"/>
              <a:gd name="connsiteY38" fmla="*/ 366 h 9700"/>
              <a:gd name="connsiteX39" fmla="*/ 1846 w 10000"/>
              <a:gd name="connsiteY39" fmla="*/ 731 h 9700"/>
              <a:gd name="connsiteX40" fmla="*/ 1978 w 10000"/>
              <a:gd name="connsiteY40" fmla="*/ 1195 h 9700"/>
              <a:gd name="connsiteX41" fmla="*/ 2209 w 10000"/>
              <a:gd name="connsiteY41" fmla="*/ 1097 h 9700"/>
              <a:gd name="connsiteX42" fmla="*/ 2440 w 10000"/>
              <a:gd name="connsiteY42" fmla="*/ 398 h 9700"/>
              <a:gd name="connsiteX43" fmla="*/ 2836 w 10000"/>
              <a:gd name="connsiteY43" fmla="*/ 665 h 9700"/>
              <a:gd name="connsiteX44" fmla="*/ 3166 w 10000"/>
              <a:gd name="connsiteY44" fmla="*/ 532 h 9700"/>
              <a:gd name="connsiteX45" fmla="*/ 3463 w 10000"/>
              <a:gd name="connsiteY45" fmla="*/ 100 h 9700"/>
              <a:gd name="connsiteX46" fmla="*/ 3827 w 10000"/>
              <a:gd name="connsiteY46" fmla="*/ 233 h 9700"/>
              <a:gd name="connsiteX47" fmla="*/ 4222 w 10000"/>
              <a:gd name="connsiteY47" fmla="*/ 0 h 9700"/>
              <a:gd name="connsiteX48" fmla="*/ 4817 w 10000"/>
              <a:gd name="connsiteY48" fmla="*/ 35 h 9700"/>
              <a:gd name="connsiteX49" fmla="*/ 5015 w 10000"/>
              <a:gd name="connsiteY49" fmla="*/ 433 h 9700"/>
              <a:gd name="connsiteX50" fmla="*/ 5709 w 10000"/>
              <a:gd name="connsiteY50" fmla="*/ 699 h 9700"/>
              <a:gd name="connsiteX51" fmla="*/ 5973 w 10000"/>
              <a:gd name="connsiteY51" fmla="*/ 863 h 9700"/>
              <a:gd name="connsiteX52" fmla="*/ 5906 w 10000"/>
              <a:gd name="connsiteY52" fmla="*/ 1064 h 9700"/>
              <a:gd name="connsiteX53" fmla="*/ 5906 w 10000"/>
              <a:gd name="connsiteY53" fmla="*/ 1429 h 9700"/>
              <a:gd name="connsiteX54" fmla="*/ 5873 w 10000"/>
              <a:gd name="connsiteY54" fmla="*/ 1760 h 9700"/>
              <a:gd name="connsiteX55" fmla="*/ 5510 w 10000"/>
              <a:gd name="connsiteY55" fmla="*/ 1828 h 9700"/>
              <a:gd name="connsiteX56" fmla="*/ 4849 w 10000"/>
              <a:gd name="connsiteY56" fmla="*/ 2060 h 9700"/>
              <a:gd name="connsiteX57" fmla="*/ 4784 w 10000"/>
              <a:gd name="connsiteY57" fmla="*/ 2359 h 9700"/>
              <a:gd name="connsiteX58" fmla="*/ 4949 w 10000"/>
              <a:gd name="connsiteY58" fmla="*/ 2624 h 9700"/>
              <a:gd name="connsiteX59" fmla="*/ 4784 w 10000"/>
              <a:gd name="connsiteY59" fmla="*/ 2824 h 9700"/>
              <a:gd name="connsiteX60" fmla="*/ 4652 w 10000"/>
              <a:gd name="connsiteY60" fmla="*/ 2924 h 9700"/>
              <a:gd name="connsiteX61" fmla="*/ 4751 w 10000"/>
              <a:gd name="connsiteY61" fmla="*/ 3586 h 9700"/>
              <a:gd name="connsiteX62" fmla="*/ 5279 w 10000"/>
              <a:gd name="connsiteY62" fmla="*/ 4054 h 9700"/>
              <a:gd name="connsiteX63" fmla="*/ 5675 w 10000"/>
              <a:gd name="connsiteY63" fmla="*/ 4386 h 9700"/>
              <a:gd name="connsiteX64" fmla="*/ 5939 w 10000"/>
              <a:gd name="connsiteY64" fmla="*/ 5416 h 9700"/>
              <a:gd name="connsiteX65" fmla="*/ 6731 w 10000"/>
              <a:gd name="connsiteY65" fmla="*/ 6345 h 9700"/>
              <a:gd name="connsiteX66" fmla="*/ 7260 w 10000"/>
              <a:gd name="connsiteY66" fmla="*/ 6546 h 9700"/>
              <a:gd name="connsiteX67" fmla="*/ 7854 w 10000"/>
              <a:gd name="connsiteY67" fmla="*/ 6578 h 9700"/>
              <a:gd name="connsiteX68" fmla="*/ 7921 w 10000"/>
              <a:gd name="connsiteY68" fmla="*/ 6811 h 9700"/>
              <a:gd name="connsiteX69" fmla="*/ 7623 w 10000"/>
              <a:gd name="connsiteY69" fmla="*/ 7011 h 9700"/>
              <a:gd name="connsiteX70" fmla="*/ 8548 w 10000"/>
              <a:gd name="connsiteY70" fmla="*/ 7607 h 9700"/>
              <a:gd name="connsiteX71" fmla="*/ 9109 w 10000"/>
              <a:gd name="connsiteY71" fmla="*/ 7972 h 9700"/>
              <a:gd name="connsiteX72" fmla="*/ 9505 w 10000"/>
              <a:gd name="connsiteY72" fmla="*/ 8173 h 9700"/>
              <a:gd name="connsiteX73" fmla="*/ 9637 w 10000"/>
              <a:gd name="connsiteY73" fmla="*/ 8404 h 9700"/>
              <a:gd name="connsiteX74" fmla="*/ 10000 w 10000"/>
              <a:gd name="connsiteY74" fmla="*/ 8872 h 9700"/>
              <a:gd name="connsiteX75" fmla="*/ 9901 w 10000"/>
              <a:gd name="connsiteY75" fmla="*/ 9267 h 9700"/>
              <a:gd name="connsiteX76" fmla="*/ 9703 w 10000"/>
              <a:gd name="connsiteY76" fmla="*/ 9267 h 9700"/>
              <a:gd name="connsiteX77" fmla="*/ 9505 w 10000"/>
              <a:gd name="connsiteY77" fmla="*/ 9004 h 9700"/>
              <a:gd name="connsiteX78" fmla="*/ 9406 w 10000"/>
              <a:gd name="connsiteY78" fmla="*/ 8703 h 9700"/>
              <a:gd name="connsiteX79" fmla="*/ 9076 w 10000"/>
              <a:gd name="connsiteY79" fmla="*/ 8637 h 9700"/>
              <a:gd name="connsiteX80" fmla="*/ 8712 w 10000"/>
              <a:gd name="connsiteY80" fmla="*/ 8371 h 9700"/>
              <a:gd name="connsiteX81" fmla="*/ 8316 w 10000"/>
              <a:gd name="connsiteY81" fmla="*/ 8738 h 9700"/>
              <a:gd name="connsiteX82" fmla="*/ 8184 w 10000"/>
              <a:gd name="connsiteY82" fmla="*/ 9036 h 9700"/>
              <a:gd name="connsiteX83" fmla="*/ 8085 w 10000"/>
              <a:gd name="connsiteY83" fmla="*/ 9267 h 9700"/>
              <a:gd name="connsiteX84" fmla="*/ 8349 w 10000"/>
              <a:gd name="connsiteY84" fmla="*/ 9434 h 9700"/>
              <a:gd name="connsiteX85" fmla="*/ 8679 w 10000"/>
              <a:gd name="connsiteY85" fmla="*/ 9700 h 9700"/>
              <a:gd name="connsiteX0" fmla="*/ 7431 w 10000"/>
              <a:gd name="connsiteY0" fmla="*/ 9527 h 9726"/>
              <a:gd name="connsiteX1" fmla="*/ 7392 w 10000"/>
              <a:gd name="connsiteY1" fmla="*/ 9384 h 9726"/>
              <a:gd name="connsiteX2" fmla="*/ 7227 w 10000"/>
              <a:gd name="connsiteY2" fmla="*/ 9111 h 9726"/>
              <a:gd name="connsiteX3" fmla="*/ 7061 w 10000"/>
              <a:gd name="connsiteY3" fmla="*/ 9212 h 9726"/>
              <a:gd name="connsiteX4" fmla="*/ 6897 w 10000"/>
              <a:gd name="connsiteY4" fmla="*/ 9146 h 9726"/>
              <a:gd name="connsiteX5" fmla="*/ 6633 w 10000"/>
              <a:gd name="connsiteY5" fmla="*/ 8835 h 9726"/>
              <a:gd name="connsiteX6" fmla="*/ 6699 w 10000"/>
              <a:gd name="connsiteY6" fmla="*/ 8630 h 9726"/>
              <a:gd name="connsiteX7" fmla="*/ 6500 w 10000"/>
              <a:gd name="connsiteY7" fmla="*/ 8288 h 9726"/>
              <a:gd name="connsiteX8" fmla="*/ 6104 w 10000"/>
              <a:gd name="connsiteY8" fmla="*/ 8391 h 9726"/>
              <a:gd name="connsiteX9" fmla="*/ 6170 w 10000"/>
              <a:gd name="connsiteY9" fmla="*/ 8152 h 9726"/>
              <a:gd name="connsiteX10" fmla="*/ 5939 w 10000"/>
              <a:gd name="connsiteY10" fmla="*/ 8082 h 9726"/>
              <a:gd name="connsiteX11" fmla="*/ 5742 w 10000"/>
              <a:gd name="connsiteY11" fmla="*/ 7740 h 9726"/>
              <a:gd name="connsiteX12" fmla="*/ 5345 w 10000"/>
              <a:gd name="connsiteY12" fmla="*/ 7465 h 9726"/>
              <a:gd name="connsiteX13" fmla="*/ 5015 w 10000"/>
              <a:gd name="connsiteY13" fmla="*/ 7465 h 9726"/>
              <a:gd name="connsiteX14" fmla="*/ 4751 w 10000"/>
              <a:gd name="connsiteY14" fmla="*/ 7228 h 9726"/>
              <a:gd name="connsiteX15" fmla="*/ 4322 w 10000"/>
              <a:gd name="connsiteY15" fmla="*/ 6748 h 9726"/>
              <a:gd name="connsiteX16" fmla="*/ 3694 w 10000"/>
              <a:gd name="connsiteY16" fmla="*/ 5889 h 9726"/>
              <a:gd name="connsiteX17" fmla="*/ 3166 w 10000"/>
              <a:gd name="connsiteY17" fmla="*/ 5238 h 9726"/>
              <a:gd name="connsiteX18" fmla="*/ 2869 w 10000"/>
              <a:gd name="connsiteY18" fmla="*/ 5068 h 9726"/>
              <a:gd name="connsiteX19" fmla="*/ 2902 w 10000"/>
              <a:gd name="connsiteY19" fmla="*/ 4522 h 9726"/>
              <a:gd name="connsiteX20" fmla="*/ 2770 w 10000"/>
              <a:gd name="connsiteY20" fmla="*/ 3697 h 9726"/>
              <a:gd name="connsiteX21" fmla="*/ 2374 w 10000"/>
              <a:gd name="connsiteY21" fmla="*/ 3528 h 9726"/>
              <a:gd name="connsiteX22" fmla="*/ 1912 w 10000"/>
              <a:gd name="connsiteY22" fmla="*/ 3085 h 9726"/>
              <a:gd name="connsiteX23" fmla="*/ 1515 w 10000"/>
              <a:gd name="connsiteY23" fmla="*/ 2979 h 9726"/>
              <a:gd name="connsiteX24" fmla="*/ 1252 w 10000"/>
              <a:gd name="connsiteY24" fmla="*/ 3221 h 9726"/>
              <a:gd name="connsiteX25" fmla="*/ 988 w 10000"/>
              <a:gd name="connsiteY25" fmla="*/ 3493 h 9726"/>
              <a:gd name="connsiteX26" fmla="*/ 393 w 10000"/>
              <a:gd name="connsiteY26" fmla="*/ 3630 h 9726"/>
              <a:gd name="connsiteX27" fmla="*/ 327 w 10000"/>
              <a:gd name="connsiteY27" fmla="*/ 3630 h 9726"/>
              <a:gd name="connsiteX28" fmla="*/ 393 w 10000"/>
              <a:gd name="connsiteY28" fmla="*/ 3493 h 9726"/>
              <a:gd name="connsiteX29" fmla="*/ 657 w 10000"/>
              <a:gd name="connsiteY29" fmla="*/ 3115 h 9726"/>
              <a:gd name="connsiteX30" fmla="*/ 30 w 10000"/>
              <a:gd name="connsiteY30" fmla="*/ 2739 h 9726"/>
              <a:gd name="connsiteX31" fmla="*/ 30 w 10000"/>
              <a:gd name="connsiteY31" fmla="*/ 1885 h 9726"/>
              <a:gd name="connsiteX32" fmla="*/ 427 w 10000"/>
              <a:gd name="connsiteY32" fmla="*/ 1504 h 9726"/>
              <a:gd name="connsiteX33" fmla="*/ 195 w 10000"/>
              <a:gd name="connsiteY33" fmla="*/ 993 h 9726"/>
              <a:gd name="connsiteX34" fmla="*/ 492 w 10000"/>
              <a:gd name="connsiteY34" fmla="*/ 788 h 9726"/>
              <a:gd name="connsiteX35" fmla="*/ 789 w 10000"/>
              <a:gd name="connsiteY35" fmla="*/ 855 h 9726"/>
              <a:gd name="connsiteX36" fmla="*/ 1119 w 10000"/>
              <a:gd name="connsiteY36" fmla="*/ 824 h 9726"/>
              <a:gd name="connsiteX37" fmla="*/ 1549 w 10000"/>
              <a:gd name="connsiteY37" fmla="*/ 307 h 9726"/>
              <a:gd name="connsiteX38" fmla="*/ 1779 w 10000"/>
              <a:gd name="connsiteY38" fmla="*/ 377 h 9726"/>
              <a:gd name="connsiteX39" fmla="*/ 1846 w 10000"/>
              <a:gd name="connsiteY39" fmla="*/ 754 h 9726"/>
              <a:gd name="connsiteX40" fmla="*/ 1978 w 10000"/>
              <a:gd name="connsiteY40" fmla="*/ 1232 h 9726"/>
              <a:gd name="connsiteX41" fmla="*/ 2209 w 10000"/>
              <a:gd name="connsiteY41" fmla="*/ 1131 h 9726"/>
              <a:gd name="connsiteX42" fmla="*/ 2440 w 10000"/>
              <a:gd name="connsiteY42" fmla="*/ 410 h 9726"/>
              <a:gd name="connsiteX43" fmla="*/ 2836 w 10000"/>
              <a:gd name="connsiteY43" fmla="*/ 686 h 9726"/>
              <a:gd name="connsiteX44" fmla="*/ 3166 w 10000"/>
              <a:gd name="connsiteY44" fmla="*/ 548 h 9726"/>
              <a:gd name="connsiteX45" fmla="*/ 3463 w 10000"/>
              <a:gd name="connsiteY45" fmla="*/ 103 h 9726"/>
              <a:gd name="connsiteX46" fmla="*/ 3827 w 10000"/>
              <a:gd name="connsiteY46" fmla="*/ 240 h 9726"/>
              <a:gd name="connsiteX47" fmla="*/ 4222 w 10000"/>
              <a:gd name="connsiteY47" fmla="*/ 0 h 9726"/>
              <a:gd name="connsiteX48" fmla="*/ 4817 w 10000"/>
              <a:gd name="connsiteY48" fmla="*/ 36 h 9726"/>
              <a:gd name="connsiteX49" fmla="*/ 5015 w 10000"/>
              <a:gd name="connsiteY49" fmla="*/ 446 h 9726"/>
              <a:gd name="connsiteX50" fmla="*/ 5709 w 10000"/>
              <a:gd name="connsiteY50" fmla="*/ 721 h 9726"/>
              <a:gd name="connsiteX51" fmla="*/ 5973 w 10000"/>
              <a:gd name="connsiteY51" fmla="*/ 890 h 9726"/>
              <a:gd name="connsiteX52" fmla="*/ 5906 w 10000"/>
              <a:gd name="connsiteY52" fmla="*/ 1097 h 9726"/>
              <a:gd name="connsiteX53" fmla="*/ 5906 w 10000"/>
              <a:gd name="connsiteY53" fmla="*/ 1473 h 9726"/>
              <a:gd name="connsiteX54" fmla="*/ 5873 w 10000"/>
              <a:gd name="connsiteY54" fmla="*/ 1814 h 9726"/>
              <a:gd name="connsiteX55" fmla="*/ 5510 w 10000"/>
              <a:gd name="connsiteY55" fmla="*/ 1885 h 9726"/>
              <a:gd name="connsiteX56" fmla="*/ 4849 w 10000"/>
              <a:gd name="connsiteY56" fmla="*/ 2124 h 9726"/>
              <a:gd name="connsiteX57" fmla="*/ 4784 w 10000"/>
              <a:gd name="connsiteY57" fmla="*/ 2432 h 9726"/>
              <a:gd name="connsiteX58" fmla="*/ 4949 w 10000"/>
              <a:gd name="connsiteY58" fmla="*/ 2705 h 9726"/>
              <a:gd name="connsiteX59" fmla="*/ 4784 w 10000"/>
              <a:gd name="connsiteY59" fmla="*/ 2911 h 9726"/>
              <a:gd name="connsiteX60" fmla="*/ 4652 w 10000"/>
              <a:gd name="connsiteY60" fmla="*/ 3014 h 9726"/>
              <a:gd name="connsiteX61" fmla="*/ 4751 w 10000"/>
              <a:gd name="connsiteY61" fmla="*/ 3697 h 9726"/>
              <a:gd name="connsiteX62" fmla="*/ 5279 w 10000"/>
              <a:gd name="connsiteY62" fmla="*/ 4179 h 9726"/>
              <a:gd name="connsiteX63" fmla="*/ 5675 w 10000"/>
              <a:gd name="connsiteY63" fmla="*/ 4522 h 9726"/>
              <a:gd name="connsiteX64" fmla="*/ 5939 w 10000"/>
              <a:gd name="connsiteY64" fmla="*/ 5584 h 9726"/>
              <a:gd name="connsiteX65" fmla="*/ 6731 w 10000"/>
              <a:gd name="connsiteY65" fmla="*/ 6541 h 9726"/>
              <a:gd name="connsiteX66" fmla="*/ 7260 w 10000"/>
              <a:gd name="connsiteY66" fmla="*/ 6748 h 9726"/>
              <a:gd name="connsiteX67" fmla="*/ 7854 w 10000"/>
              <a:gd name="connsiteY67" fmla="*/ 6781 h 9726"/>
              <a:gd name="connsiteX68" fmla="*/ 7921 w 10000"/>
              <a:gd name="connsiteY68" fmla="*/ 7022 h 9726"/>
              <a:gd name="connsiteX69" fmla="*/ 7623 w 10000"/>
              <a:gd name="connsiteY69" fmla="*/ 7228 h 9726"/>
              <a:gd name="connsiteX70" fmla="*/ 8548 w 10000"/>
              <a:gd name="connsiteY70" fmla="*/ 7842 h 9726"/>
              <a:gd name="connsiteX71" fmla="*/ 9109 w 10000"/>
              <a:gd name="connsiteY71" fmla="*/ 8219 h 9726"/>
              <a:gd name="connsiteX72" fmla="*/ 9505 w 10000"/>
              <a:gd name="connsiteY72" fmla="*/ 8426 h 9726"/>
              <a:gd name="connsiteX73" fmla="*/ 9637 w 10000"/>
              <a:gd name="connsiteY73" fmla="*/ 8664 h 9726"/>
              <a:gd name="connsiteX74" fmla="*/ 10000 w 10000"/>
              <a:gd name="connsiteY74" fmla="*/ 9146 h 9726"/>
              <a:gd name="connsiteX75" fmla="*/ 9901 w 10000"/>
              <a:gd name="connsiteY75" fmla="*/ 9554 h 9726"/>
              <a:gd name="connsiteX76" fmla="*/ 9703 w 10000"/>
              <a:gd name="connsiteY76" fmla="*/ 9554 h 9726"/>
              <a:gd name="connsiteX77" fmla="*/ 9505 w 10000"/>
              <a:gd name="connsiteY77" fmla="*/ 9282 h 9726"/>
              <a:gd name="connsiteX78" fmla="*/ 9406 w 10000"/>
              <a:gd name="connsiteY78" fmla="*/ 8972 h 9726"/>
              <a:gd name="connsiteX79" fmla="*/ 9076 w 10000"/>
              <a:gd name="connsiteY79" fmla="*/ 8904 h 9726"/>
              <a:gd name="connsiteX80" fmla="*/ 8712 w 10000"/>
              <a:gd name="connsiteY80" fmla="*/ 8630 h 9726"/>
              <a:gd name="connsiteX81" fmla="*/ 8316 w 10000"/>
              <a:gd name="connsiteY81" fmla="*/ 9008 h 9726"/>
              <a:gd name="connsiteX82" fmla="*/ 8184 w 10000"/>
              <a:gd name="connsiteY82" fmla="*/ 9315 h 9726"/>
              <a:gd name="connsiteX83" fmla="*/ 8085 w 10000"/>
              <a:gd name="connsiteY83" fmla="*/ 9554 h 9726"/>
              <a:gd name="connsiteX84" fmla="*/ 8349 w 10000"/>
              <a:gd name="connsiteY84" fmla="*/ 9726 h 9726"/>
              <a:gd name="connsiteX0" fmla="*/ 7431 w 10000"/>
              <a:gd name="connsiteY0" fmla="*/ 9795 h 9823"/>
              <a:gd name="connsiteX1" fmla="*/ 7392 w 10000"/>
              <a:gd name="connsiteY1" fmla="*/ 9648 h 9823"/>
              <a:gd name="connsiteX2" fmla="*/ 7227 w 10000"/>
              <a:gd name="connsiteY2" fmla="*/ 9368 h 9823"/>
              <a:gd name="connsiteX3" fmla="*/ 7061 w 10000"/>
              <a:gd name="connsiteY3" fmla="*/ 9472 h 9823"/>
              <a:gd name="connsiteX4" fmla="*/ 6897 w 10000"/>
              <a:gd name="connsiteY4" fmla="*/ 9404 h 9823"/>
              <a:gd name="connsiteX5" fmla="*/ 6633 w 10000"/>
              <a:gd name="connsiteY5" fmla="*/ 9084 h 9823"/>
              <a:gd name="connsiteX6" fmla="*/ 6699 w 10000"/>
              <a:gd name="connsiteY6" fmla="*/ 8873 h 9823"/>
              <a:gd name="connsiteX7" fmla="*/ 6500 w 10000"/>
              <a:gd name="connsiteY7" fmla="*/ 8521 h 9823"/>
              <a:gd name="connsiteX8" fmla="*/ 6104 w 10000"/>
              <a:gd name="connsiteY8" fmla="*/ 8627 h 9823"/>
              <a:gd name="connsiteX9" fmla="*/ 6170 w 10000"/>
              <a:gd name="connsiteY9" fmla="*/ 8382 h 9823"/>
              <a:gd name="connsiteX10" fmla="*/ 5939 w 10000"/>
              <a:gd name="connsiteY10" fmla="*/ 8310 h 9823"/>
              <a:gd name="connsiteX11" fmla="*/ 5742 w 10000"/>
              <a:gd name="connsiteY11" fmla="*/ 7958 h 9823"/>
              <a:gd name="connsiteX12" fmla="*/ 5345 w 10000"/>
              <a:gd name="connsiteY12" fmla="*/ 7675 h 9823"/>
              <a:gd name="connsiteX13" fmla="*/ 5015 w 10000"/>
              <a:gd name="connsiteY13" fmla="*/ 7675 h 9823"/>
              <a:gd name="connsiteX14" fmla="*/ 4751 w 10000"/>
              <a:gd name="connsiteY14" fmla="*/ 7432 h 9823"/>
              <a:gd name="connsiteX15" fmla="*/ 4322 w 10000"/>
              <a:gd name="connsiteY15" fmla="*/ 6938 h 9823"/>
              <a:gd name="connsiteX16" fmla="*/ 3694 w 10000"/>
              <a:gd name="connsiteY16" fmla="*/ 6055 h 9823"/>
              <a:gd name="connsiteX17" fmla="*/ 3166 w 10000"/>
              <a:gd name="connsiteY17" fmla="*/ 5386 h 9823"/>
              <a:gd name="connsiteX18" fmla="*/ 2869 w 10000"/>
              <a:gd name="connsiteY18" fmla="*/ 5211 h 9823"/>
              <a:gd name="connsiteX19" fmla="*/ 2902 w 10000"/>
              <a:gd name="connsiteY19" fmla="*/ 4649 h 9823"/>
              <a:gd name="connsiteX20" fmla="*/ 2770 w 10000"/>
              <a:gd name="connsiteY20" fmla="*/ 3801 h 9823"/>
              <a:gd name="connsiteX21" fmla="*/ 2374 w 10000"/>
              <a:gd name="connsiteY21" fmla="*/ 3627 h 9823"/>
              <a:gd name="connsiteX22" fmla="*/ 1912 w 10000"/>
              <a:gd name="connsiteY22" fmla="*/ 3172 h 9823"/>
              <a:gd name="connsiteX23" fmla="*/ 1515 w 10000"/>
              <a:gd name="connsiteY23" fmla="*/ 3063 h 9823"/>
              <a:gd name="connsiteX24" fmla="*/ 1252 w 10000"/>
              <a:gd name="connsiteY24" fmla="*/ 3312 h 9823"/>
              <a:gd name="connsiteX25" fmla="*/ 988 w 10000"/>
              <a:gd name="connsiteY25" fmla="*/ 3591 h 9823"/>
              <a:gd name="connsiteX26" fmla="*/ 393 w 10000"/>
              <a:gd name="connsiteY26" fmla="*/ 3732 h 9823"/>
              <a:gd name="connsiteX27" fmla="*/ 327 w 10000"/>
              <a:gd name="connsiteY27" fmla="*/ 3732 h 9823"/>
              <a:gd name="connsiteX28" fmla="*/ 393 w 10000"/>
              <a:gd name="connsiteY28" fmla="*/ 3591 h 9823"/>
              <a:gd name="connsiteX29" fmla="*/ 657 w 10000"/>
              <a:gd name="connsiteY29" fmla="*/ 3203 h 9823"/>
              <a:gd name="connsiteX30" fmla="*/ 30 w 10000"/>
              <a:gd name="connsiteY30" fmla="*/ 2816 h 9823"/>
              <a:gd name="connsiteX31" fmla="*/ 30 w 10000"/>
              <a:gd name="connsiteY31" fmla="*/ 1938 h 9823"/>
              <a:gd name="connsiteX32" fmla="*/ 427 w 10000"/>
              <a:gd name="connsiteY32" fmla="*/ 1546 h 9823"/>
              <a:gd name="connsiteX33" fmla="*/ 195 w 10000"/>
              <a:gd name="connsiteY33" fmla="*/ 1021 h 9823"/>
              <a:gd name="connsiteX34" fmla="*/ 492 w 10000"/>
              <a:gd name="connsiteY34" fmla="*/ 810 h 9823"/>
              <a:gd name="connsiteX35" fmla="*/ 789 w 10000"/>
              <a:gd name="connsiteY35" fmla="*/ 879 h 9823"/>
              <a:gd name="connsiteX36" fmla="*/ 1119 w 10000"/>
              <a:gd name="connsiteY36" fmla="*/ 847 h 9823"/>
              <a:gd name="connsiteX37" fmla="*/ 1549 w 10000"/>
              <a:gd name="connsiteY37" fmla="*/ 316 h 9823"/>
              <a:gd name="connsiteX38" fmla="*/ 1779 w 10000"/>
              <a:gd name="connsiteY38" fmla="*/ 388 h 9823"/>
              <a:gd name="connsiteX39" fmla="*/ 1846 w 10000"/>
              <a:gd name="connsiteY39" fmla="*/ 775 h 9823"/>
              <a:gd name="connsiteX40" fmla="*/ 1978 w 10000"/>
              <a:gd name="connsiteY40" fmla="*/ 1267 h 9823"/>
              <a:gd name="connsiteX41" fmla="*/ 2209 w 10000"/>
              <a:gd name="connsiteY41" fmla="*/ 1163 h 9823"/>
              <a:gd name="connsiteX42" fmla="*/ 2440 w 10000"/>
              <a:gd name="connsiteY42" fmla="*/ 422 h 9823"/>
              <a:gd name="connsiteX43" fmla="*/ 2836 w 10000"/>
              <a:gd name="connsiteY43" fmla="*/ 705 h 9823"/>
              <a:gd name="connsiteX44" fmla="*/ 3166 w 10000"/>
              <a:gd name="connsiteY44" fmla="*/ 563 h 9823"/>
              <a:gd name="connsiteX45" fmla="*/ 3463 w 10000"/>
              <a:gd name="connsiteY45" fmla="*/ 106 h 9823"/>
              <a:gd name="connsiteX46" fmla="*/ 3827 w 10000"/>
              <a:gd name="connsiteY46" fmla="*/ 247 h 9823"/>
              <a:gd name="connsiteX47" fmla="*/ 4222 w 10000"/>
              <a:gd name="connsiteY47" fmla="*/ 0 h 9823"/>
              <a:gd name="connsiteX48" fmla="*/ 4817 w 10000"/>
              <a:gd name="connsiteY48" fmla="*/ 37 h 9823"/>
              <a:gd name="connsiteX49" fmla="*/ 5015 w 10000"/>
              <a:gd name="connsiteY49" fmla="*/ 459 h 9823"/>
              <a:gd name="connsiteX50" fmla="*/ 5709 w 10000"/>
              <a:gd name="connsiteY50" fmla="*/ 741 h 9823"/>
              <a:gd name="connsiteX51" fmla="*/ 5973 w 10000"/>
              <a:gd name="connsiteY51" fmla="*/ 915 h 9823"/>
              <a:gd name="connsiteX52" fmla="*/ 5906 w 10000"/>
              <a:gd name="connsiteY52" fmla="*/ 1128 h 9823"/>
              <a:gd name="connsiteX53" fmla="*/ 5906 w 10000"/>
              <a:gd name="connsiteY53" fmla="*/ 1514 h 9823"/>
              <a:gd name="connsiteX54" fmla="*/ 5873 w 10000"/>
              <a:gd name="connsiteY54" fmla="*/ 1865 h 9823"/>
              <a:gd name="connsiteX55" fmla="*/ 5510 w 10000"/>
              <a:gd name="connsiteY55" fmla="*/ 1938 h 9823"/>
              <a:gd name="connsiteX56" fmla="*/ 4849 w 10000"/>
              <a:gd name="connsiteY56" fmla="*/ 2184 h 9823"/>
              <a:gd name="connsiteX57" fmla="*/ 4784 w 10000"/>
              <a:gd name="connsiteY57" fmla="*/ 2501 h 9823"/>
              <a:gd name="connsiteX58" fmla="*/ 4949 w 10000"/>
              <a:gd name="connsiteY58" fmla="*/ 2781 h 9823"/>
              <a:gd name="connsiteX59" fmla="*/ 4784 w 10000"/>
              <a:gd name="connsiteY59" fmla="*/ 2993 h 9823"/>
              <a:gd name="connsiteX60" fmla="*/ 4652 w 10000"/>
              <a:gd name="connsiteY60" fmla="*/ 3099 h 9823"/>
              <a:gd name="connsiteX61" fmla="*/ 4751 w 10000"/>
              <a:gd name="connsiteY61" fmla="*/ 3801 h 9823"/>
              <a:gd name="connsiteX62" fmla="*/ 5279 w 10000"/>
              <a:gd name="connsiteY62" fmla="*/ 4297 h 9823"/>
              <a:gd name="connsiteX63" fmla="*/ 5675 w 10000"/>
              <a:gd name="connsiteY63" fmla="*/ 4649 h 9823"/>
              <a:gd name="connsiteX64" fmla="*/ 5939 w 10000"/>
              <a:gd name="connsiteY64" fmla="*/ 5741 h 9823"/>
              <a:gd name="connsiteX65" fmla="*/ 6731 w 10000"/>
              <a:gd name="connsiteY65" fmla="*/ 6725 h 9823"/>
              <a:gd name="connsiteX66" fmla="*/ 7260 w 10000"/>
              <a:gd name="connsiteY66" fmla="*/ 6938 h 9823"/>
              <a:gd name="connsiteX67" fmla="*/ 7854 w 10000"/>
              <a:gd name="connsiteY67" fmla="*/ 6972 h 9823"/>
              <a:gd name="connsiteX68" fmla="*/ 7921 w 10000"/>
              <a:gd name="connsiteY68" fmla="*/ 7220 h 9823"/>
              <a:gd name="connsiteX69" fmla="*/ 7623 w 10000"/>
              <a:gd name="connsiteY69" fmla="*/ 7432 h 9823"/>
              <a:gd name="connsiteX70" fmla="*/ 8548 w 10000"/>
              <a:gd name="connsiteY70" fmla="*/ 8063 h 9823"/>
              <a:gd name="connsiteX71" fmla="*/ 9109 w 10000"/>
              <a:gd name="connsiteY71" fmla="*/ 8451 h 9823"/>
              <a:gd name="connsiteX72" fmla="*/ 9505 w 10000"/>
              <a:gd name="connsiteY72" fmla="*/ 8663 h 9823"/>
              <a:gd name="connsiteX73" fmla="*/ 9637 w 10000"/>
              <a:gd name="connsiteY73" fmla="*/ 8908 h 9823"/>
              <a:gd name="connsiteX74" fmla="*/ 10000 w 10000"/>
              <a:gd name="connsiteY74" fmla="*/ 9404 h 9823"/>
              <a:gd name="connsiteX75" fmla="*/ 9901 w 10000"/>
              <a:gd name="connsiteY75" fmla="*/ 9823 h 9823"/>
              <a:gd name="connsiteX76" fmla="*/ 9703 w 10000"/>
              <a:gd name="connsiteY76" fmla="*/ 9823 h 9823"/>
              <a:gd name="connsiteX77" fmla="*/ 9505 w 10000"/>
              <a:gd name="connsiteY77" fmla="*/ 9543 h 9823"/>
              <a:gd name="connsiteX78" fmla="*/ 9406 w 10000"/>
              <a:gd name="connsiteY78" fmla="*/ 9225 h 9823"/>
              <a:gd name="connsiteX79" fmla="*/ 9076 w 10000"/>
              <a:gd name="connsiteY79" fmla="*/ 9155 h 9823"/>
              <a:gd name="connsiteX80" fmla="*/ 8712 w 10000"/>
              <a:gd name="connsiteY80" fmla="*/ 8873 h 9823"/>
              <a:gd name="connsiteX81" fmla="*/ 8316 w 10000"/>
              <a:gd name="connsiteY81" fmla="*/ 9262 h 9823"/>
              <a:gd name="connsiteX82" fmla="*/ 8184 w 10000"/>
              <a:gd name="connsiteY82" fmla="*/ 9577 h 9823"/>
              <a:gd name="connsiteX83" fmla="*/ 8085 w 10000"/>
              <a:gd name="connsiteY83" fmla="*/ 9823 h 9823"/>
              <a:gd name="connsiteX0" fmla="*/ 7431 w 10007"/>
              <a:gd name="connsiteY0" fmla="*/ 9971 h 10017"/>
              <a:gd name="connsiteX1" fmla="*/ 7392 w 10007"/>
              <a:gd name="connsiteY1" fmla="*/ 9822 h 10017"/>
              <a:gd name="connsiteX2" fmla="*/ 7227 w 10007"/>
              <a:gd name="connsiteY2" fmla="*/ 9537 h 10017"/>
              <a:gd name="connsiteX3" fmla="*/ 7061 w 10007"/>
              <a:gd name="connsiteY3" fmla="*/ 9643 h 10017"/>
              <a:gd name="connsiteX4" fmla="*/ 6897 w 10007"/>
              <a:gd name="connsiteY4" fmla="*/ 9573 h 10017"/>
              <a:gd name="connsiteX5" fmla="*/ 6633 w 10007"/>
              <a:gd name="connsiteY5" fmla="*/ 9248 h 10017"/>
              <a:gd name="connsiteX6" fmla="*/ 6699 w 10007"/>
              <a:gd name="connsiteY6" fmla="*/ 9033 h 10017"/>
              <a:gd name="connsiteX7" fmla="*/ 6500 w 10007"/>
              <a:gd name="connsiteY7" fmla="*/ 8675 h 10017"/>
              <a:gd name="connsiteX8" fmla="*/ 6104 w 10007"/>
              <a:gd name="connsiteY8" fmla="*/ 8782 h 10017"/>
              <a:gd name="connsiteX9" fmla="*/ 6170 w 10007"/>
              <a:gd name="connsiteY9" fmla="*/ 8533 h 10017"/>
              <a:gd name="connsiteX10" fmla="*/ 5939 w 10007"/>
              <a:gd name="connsiteY10" fmla="*/ 8460 h 10017"/>
              <a:gd name="connsiteX11" fmla="*/ 5742 w 10007"/>
              <a:gd name="connsiteY11" fmla="*/ 8101 h 10017"/>
              <a:gd name="connsiteX12" fmla="*/ 5345 w 10007"/>
              <a:gd name="connsiteY12" fmla="*/ 7813 h 10017"/>
              <a:gd name="connsiteX13" fmla="*/ 5015 w 10007"/>
              <a:gd name="connsiteY13" fmla="*/ 7813 h 10017"/>
              <a:gd name="connsiteX14" fmla="*/ 4751 w 10007"/>
              <a:gd name="connsiteY14" fmla="*/ 7566 h 10017"/>
              <a:gd name="connsiteX15" fmla="*/ 4322 w 10007"/>
              <a:gd name="connsiteY15" fmla="*/ 7063 h 10017"/>
              <a:gd name="connsiteX16" fmla="*/ 3694 w 10007"/>
              <a:gd name="connsiteY16" fmla="*/ 6164 h 10017"/>
              <a:gd name="connsiteX17" fmla="*/ 3166 w 10007"/>
              <a:gd name="connsiteY17" fmla="*/ 5483 h 10017"/>
              <a:gd name="connsiteX18" fmla="*/ 2869 w 10007"/>
              <a:gd name="connsiteY18" fmla="*/ 5305 h 10017"/>
              <a:gd name="connsiteX19" fmla="*/ 2902 w 10007"/>
              <a:gd name="connsiteY19" fmla="*/ 4733 h 10017"/>
              <a:gd name="connsiteX20" fmla="*/ 2770 w 10007"/>
              <a:gd name="connsiteY20" fmla="*/ 3869 h 10017"/>
              <a:gd name="connsiteX21" fmla="*/ 2374 w 10007"/>
              <a:gd name="connsiteY21" fmla="*/ 3692 h 10017"/>
              <a:gd name="connsiteX22" fmla="*/ 1912 w 10007"/>
              <a:gd name="connsiteY22" fmla="*/ 3229 h 10017"/>
              <a:gd name="connsiteX23" fmla="*/ 1515 w 10007"/>
              <a:gd name="connsiteY23" fmla="*/ 3118 h 10017"/>
              <a:gd name="connsiteX24" fmla="*/ 1252 w 10007"/>
              <a:gd name="connsiteY24" fmla="*/ 3372 h 10017"/>
              <a:gd name="connsiteX25" fmla="*/ 988 w 10007"/>
              <a:gd name="connsiteY25" fmla="*/ 3656 h 10017"/>
              <a:gd name="connsiteX26" fmla="*/ 393 w 10007"/>
              <a:gd name="connsiteY26" fmla="*/ 3799 h 10017"/>
              <a:gd name="connsiteX27" fmla="*/ 327 w 10007"/>
              <a:gd name="connsiteY27" fmla="*/ 3799 h 10017"/>
              <a:gd name="connsiteX28" fmla="*/ 393 w 10007"/>
              <a:gd name="connsiteY28" fmla="*/ 3656 h 10017"/>
              <a:gd name="connsiteX29" fmla="*/ 657 w 10007"/>
              <a:gd name="connsiteY29" fmla="*/ 3261 h 10017"/>
              <a:gd name="connsiteX30" fmla="*/ 30 w 10007"/>
              <a:gd name="connsiteY30" fmla="*/ 2867 h 10017"/>
              <a:gd name="connsiteX31" fmla="*/ 30 w 10007"/>
              <a:gd name="connsiteY31" fmla="*/ 1973 h 10017"/>
              <a:gd name="connsiteX32" fmla="*/ 427 w 10007"/>
              <a:gd name="connsiteY32" fmla="*/ 1574 h 10017"/>
              <a:gd name="connsiteX33" fmla="*/ 195 w 10007"/>
              <a:gd name="connsiteY33" fmla="*/ 1039 h 10017"/>
              <a:gd name="connsiteX34" fmla="*/ 492 w 10007"/>
              <a:gd name="connsiteY34" fmla="*/ 825 h 10017"/>
              <a:gd name="connsiteX35" fmla="*/ 789 w 10007"/>
              <a:gd name="connsiteY35" fmla="*/ 895 h 10017"/>
              <a:gd name="connsiteX36" fmla="*/ 1119 w 10007"/>
              <a:gd name="connsiteY36" fmla="*/ 862 h 10017"/>
              <a:gd name="connsiteX37" fmla="*/ 1549 w 10007"/>
              <a:gd name="connsiteY37" fmla="*/ 322 h 10017"/>
              <a:gd name="connsiteX38" fmla="*/ 1779 w 10007"/>
              <a:gd name="connsiteY38" fmla="*/ 395 h 10017"/>
              <a:gd name="connsiteX39" fmla="*/ 1846 w 10007"/>
              <a:gd name="connsiteY39" fmla="*/ 789 h 10017"/>
              <a:gd name="connsiteX40" fmla="*/ 1978 w 10007"/>
              <a:gd name="connsiteY40" fmla="*/ 1290 h 10017"/>
              <a:gd name="connsiteX41" fmla="*/ 2209 w 10007"/>
              <a:gd name="connsiteY41" fmla="*/ 1184 h 10017"/>
              <a:gd name="connsiteX42" fmla="*/ 2440 w 10007"/>
              <a:gd name="connsiteY42" fmla="*/ 430 h 10017"/>
              <a:gd name="connsiteX43" fmla="*/ 2836 w 10007"/>
              <a:gd name="connsiteY43" fmla="*/ 718 h 10017"/>
              <a:gd name="connsiteX44" fmla="*/ 3166 w 10007"/>
              <a:gd name="connsiteY44" fmla="*/ 573 h 10017"/>
              <a:gd name="connsiteX45" fmla="*/ 3463 w 10007"/>
              <a:gd name="connsiteY45" fmla="*/ 108 h 10017"/>
              <a:gd name="connsiteX46" fmla="*/ 3827 w 10007"/>
              <a:gd name="connsiteY46" fmla="*/ 251 h 10017"/>
              <a:gd name="connsiteX47" fmla="*/ 4222 w 10007"/>
              <a:gd name="connsiteY47" fmla="*/ 0 h 10017"/>
              <a:gd name="connsiteX48" fmla="*/ 4817 w 10007"/>
              <a:gd name="connsiteY48" fmla="*/ 38 h 10017"/>
              <a:gd name="connsiteX49" fmla="*/ 5015 w 10007"/>
              <a:gd name="connsiteY49" fmla="*/ 467 h 10017"/>
              <a:gd name="connsiteX50" fmla="*/ 5709 w 10007"/>
              <a:gd name="connsiteY50" fmla="*/ 754 h 10017"/>
              <a:gd name="connsiteX51" fmla="*/ 5973 w 10007"/>
              <a:gd name="connsiteY51" fmla="*/ 931 h 10017"/>
              <a:gd name="connsiteX52" fmla="*/ 5906 w 10007"/>
              <a:gd name="connsiteY52" fmla="*/ 1148 h 10017"/>
              <a:gd name="connsiteX53" fmla="*/ 5906 w 10007"/>
              <a:gd name="connsiteY53" fmla="*/ 1541 h 10017"/>
              <a:gd name="connsiteX54" fmla="*/ 5873 w 10007"/>
              <a:gd name="connsiteY54" fmla="*/ 1899 h 10017"/>
              <a:gd name="connsiteX55" fmla="*/ 5510 w 10007"/>
              <a:gd name="connsiteY55" fmla="*/ 1973 h 10017"/>
              <a:gd name="connsiteX56" fmla="*/ 4849 w 10007"/>
              <a:gd name="connsiteY56" fmla="*/ 2223 h 10017"/>
              <a:gd name="connsiteX57" fmla="*/ 4784 w 10007"/>
              <a:gd name="connsiteY57" fmla="*/ 2546 h 10017"/>
              <a:gd name="connsiteX58" fmla="*/ 4949 w 10007"/>
              <a:gd name="connsiteY58" fmla="*/ 2831 h 10017"/>
              <a:gd name="connsiteX59" fmla="*/ 4784 w 10007"/>
              <a:gd name="connsiteY59" fmla="*/ 3047 h 10017"/>
              <a:gd name="connsiteX60" fmla="*/ 4652 w 10007"/>
              <a:gd name="connsiteY60" fmla="*/ 3155 h 10017"/>
              <a:gd name="connsiteX61" fmla="*/ 4751 w 10007"/>
              <a:gd name="connsiteY61" fmla="*/ 3869 h 10017"/>
              <a:gd name="connsiteX62" fmla="*/ 5279 w 10007"/>
              <a:gd name="connsiteY62" fmla="*/ 4374 h 10017"/>
              <a:gd name="connsiteX63" fmla="*/ 5675 w 10007"/>
              <a:gd name="connsiteY63" fmla="*/ 4733 h 10017"/>
              <a:gd name="connsiteX64" fmla="*/ 5939 w 10007"/>
              <a:gd name="connsiteY64" fmla="*/ 5844 h 10017"/>
              <a:gd name="connsiteX65" fmla="*/ 6731 w 10007"/>
              <a:gd name="connsiteY65" fmla="*/ 6846 h 10017"/>
              <a:gd name="connsiteX66" fmla="*/ 7260 w 10007"/>
              <a:gd name="connsiteY66" fmla="*/ 7063 h 10017"/>
              <a:gd name="connsiteX67" fmla="*/ 7854 w 10007"/>
              <a:gd name="connsiteY67" fmla="*/ 7098 h 10017"/>
              <a:gd name="connsiteX68" fmla="*/ 7921 w 10007"/>
              <a:gd name="connsiteY68" fmla="*/ 7350 h 10017"/>
              <a:gd name="connsiteX69" fmla="*/ 7623 w 10007"/>
              <a:gd name="connsiteY69" fmla="*/ 7566 h 10017"/>
              <a:gd name="connsiteX70" fmla="*/ 8548 w 10007"/>
              <a:gd name="connsiteY70" fmla="*/ 8208 h 10017"/>
              <a:gd name="connsiteX71" fmla="*/ 9109 w 10007"/>
              <a:gd name="connsiteY71" fmla="*/ 8603 h 10017"/>
              <a:gd name="connsiteX72" fmla="*/ 9505 w 10007"/>
              <a:gd name="connsiteY72" fmla="*/ 8819 h 10017"/>
              <a:gd name="connsiteX73" fmla="*/ 9637 w 10007"/>
              <a:gd name="connsiteY73" fmla="*/ 9069 h 10017"/>
              <a:gd name="connsiteX74" fmla="*/ 10000 w 10007"/>
              <a:gd name="connsiteY74" fmla="*/ 9573 h 10017"/>
              <a:gd name="connsiteX75" fmla="*/ 9889 w 10007"/>
              <a:gd name="connsiteY75" fmla="*/ 9940 h 10017"/>
              <a:gd name="connsiteX76" fmla="*/ 9703 w 10007"/>
              <a:gd name="connsiteY76" fmla="*/ 10000 h 10017"/>
              <a:gd name="connsiteX77" fmla="*/ 9505 w 10007"/>
              <a:gd name="connsiteY77" fmla="*/ 9715 h 10017"/>
              <a:gd name="connsiteX78" fmla="*/ 9406 w 10007"/>
              <a:gd name="connsiteY78" fmla="*/ 9391 h 10017"/>
              <a:gd name="connsiteX79" fmla="*/ 9076 w 10007"/>
              <a:gd name="connsiteY79" fmla="*/ 9320 h 10017"/>
              <a:gd name="connsiteX80" fmla="*/ 8712 w 10007"/>
              <a:gd name="connsiteY80" fmla="*/ 9033 h 10017"/>
              <a:gd name="connsiteX81" fmla="*/ 8316 w 10007"/>
              <a:gd name="connsiteY81" fmla="*/ 9429 h 10017"/>
              <a:gd name="connsiteX82" fmla="*/ 8184 w 10007"/>
              <a:gd name="connsiteY82" fmla="*/ 9750 h 10017"/>
              <a:gd name="connsiteX83" fmla="*/ 8085 w 10007"/>
              <a:gd name="connsiteY83" fmla="*/ 10000 h 10017"/>
              <a:gd name="connsiteX0" fmla="*/ 7431 w 10010"/>
              <a:gd name="connsiteY0" fmla="*/ 9971 h 10000"/>
              <a:gd name="connsiteX1" fmla="*/ 7392 w 10010"/>
              <a:gd name="connsiteY1" fmla="*/ 9822 h 10000"/>
              <a:gd name="connsiteX2" fmla="*/ 7227 w 10010"/>
              <a:gd name="connsiteY2" fmla="*/ 9537 h 10000"/>
              <a:gd name="connsiteX3" fmla="*/ 7061 w 10010"/>
              <a:gd name="connsiteY3" fmla="*/ 9643 h 10000"/>
              <a:gd name="connsiteX4" fmla="*/ 6897 w 10010"/>
              <a:gd name="connsiteY4" fmla="*/ 9573 h 10000"/>
              <a:gd name="connsiteX5" fmla="*/ 6633 w 10010"/>
              <a:gd name="connsiteY5" fmla="*/ 9248 h 10000"/>
              <a:gd name="connsiteX6" fmla="*/ 6699 w 10010"/>
              <a:gd name="connsiteY6" fmla="*/ 9033 h 10000"/>
              <a:gd name="connsiteX7" fmla="*/ 6500 w 10010"/>
              <a:gd name="connsiteY7" fmla="*/ 8675 h 10000"/>
              <a:gd name="connsiteX8" fmla="*/ 6104 w 10010"/>
              <a:gd name="connsiteY8" fmla="*/ 8782 h 10000"/>
              <a:gd name="connsiteX9" fmla="*/ 6170 w 10010"/>
              <a:gd name="connsiteY9" fmla="*/ 8533 h 10000"/>
              <a:gd name="connsiteX10" fmla="*/ 5939 w 10010"/>
              <a:gd name="connsiteY10" fmla="*/ 8460 h 10000"/>
              <a:gd name="connsiteX11" fmla="*/ 5742 w 10010"/>
              <a:gd name="connsiteY11" fmla="*/ 8101 h 10000"/>
              <a:gd name="connsiteX12" fmla="*/ 5345 w 10010"/>
              <a:gd name="connsiteY12" fmla="*/ 7813 h 10000"/>
              <a:gd name="connsiteX13" fmla="*/ 5015 w 10010"/>
              <a:gd name="connsiteY13" fmla="*/ 7813 h 10000"/>
              <a:gd name="connsiteX14" fmla="*/ 4751 w 10010"/>
              <a:gd name="connsiteY14" fmla="*/ 7566 h 10000"/>
              <a:gd name="connsiteX15" fmla="*/ 4322 w 10010"/>
              <a:gd name="connsiteY15" fmla="*/ 7063 h 10000"/>
              <a:gd name="connsiteX16" fmla="*/ 3694 w 10010"/>
              <a:gd name="connsiteY16" fmla="*/ 6164 h 10000"/>
              <a:gd name="connsiteX17" fmla="*/ 3166 w 10010"/>
              <a:gd name="connsiteY17" fmla="*/ 5483 h 10000"/>
              <a:gd name="connsiteX18" fmla="*/ 2869 w 10010"/>
              <a:gd name="connsiteY18" fmla="*/ 5305 h 10000"/>
              <a:gd name="connsiteX19" fmla="*/ 2902 w 10010"/>
              <a:gd name="connsiteY19" fmla="*/ 4733 h 10000"/>
              <a:gd name="connsiteX20" fmla="*/ 2770 w 10010"/>
              <a:gd name="connsiteY20" fmla="*/ 3869 h 10000"/>
              <a:gd name="connsiteX21" fmla="*/ 2374 w 10010"/>
              <a:gd name="connsiteY21" fmla="*/ 3692 h 10000"/>
              <a:gd name="connsiteX22" fmla="*/ 1912 w 10010"/>
              <a:gd name="connsiteY22" fmla="*/ 3229 h 10000"/>
              <a:gd name="connsiteX23" fmla="*/ 1515 w 10010"/>
              <a:gd name="connsiteY23" fmla="*/ 3118 h 10000"/>
              <a:gd name="connsiteX24" fmla="*/ 1252 w 10010"/>
              <a:gd name="connsiteY24" fmla="*/ 3372 h 10000"/>
              <a:gd name="connsiteX25" fmla="*/ 988 w 10010"/>
              <a:gd name="connsiteY25" fmla="*/ 3656 h 10000"/>
              <a:gd name="connsiteX26" fmla="*/ 393 w 10010"/>
              <a:gd name="connsiteY26" fmla="*/ 3799 h 10000"/>
              <a:gd name="connsiteX27" fmla="*/ 327 w 10010"/>
              <a:gd name="connsiteY27" fmla="*/ 3799 h 10000"/>
              <a:gd name="connsiteX28" fmla="*/ 393 w 10010"/>
              <a:gd name="connsiteY28" fmla="*/ 3656 h 10000"/>
              <a:gd name="connsiteX29" fmla="*/ 657 w 10010"/>
              <a:gd name="connsiteY29" fmla="*/ 3261 h 10000"/>
              <a:gd name="connsiteX30" fmla="*/ 30 w 10010"/>
              <a:gd name="connsiteY30" fmla="*/ 2867 h 10000"/>
              <a:gd name="connsiteX31" fmla="*/ 30 w 10010"/>
              <a:gd name="connsiteY31" fmla="*/ 1973 h 10000"/>
              <a:gd name="connsiteX32" fmla="*/ 427 w 10010"/>
              <a:gd name="connsiteY32" fmla="*/ 1574 h 10000"/>
              <a:gd name="connsiteX33" fmla="*/ 195 w 10010"/>
              <a:gd name="connsiteY33" fmla="*/ 1039 h 10000"/>
              <a:gd name="connsiteX34" fmla="*/ 492 w 10010"/>
              <a:gd name="connsiteY34" fmla="*/ 825 h 10000"/>
              <a:gd name="connsiteX35" fmla="*/ 789 w 10010"/>
              <a:gd name="connsiteY35" fmla="*/ 895 h 10000"/>
              <a:gd name="connsiteX36" fmla="*/ 1119 w 10010"/>
              <a:gd name="connsiteY36" fmla="*/ 862 h 10000"/>
              <a:gd name="connsiteX37" fmla="*/ 1549 w 10010"/>
              <a:gd name="connsiteY37" fmla="*/ 322 h 10000"/>
              <a:gd name="connsiteX38" fmla="*/ 1779 w 10010"/>
              <a:gd name="connsiteY38" fmla="*/ 395 h 10000"/>
              <a:gd name="connsiteX39" fmla="*/ 1846 w 10010"/>
              <a:gd name="connsiteY39" fmla="*/ 789 h 10000"/>
              <a:gd name="connsiteX40" fmla="*/ 1978 w 10010"/>
              <a:gd name="connsiteY40" fmla="*/ 1290 h 10000"/>
              <a:gd name="connsiteX41" fmla="*/ 2209 w 10010"/>
              <a:gd name="connsiteY41" fmla="*/ 1184 h 10000"/>
              <a:gd name="connsiteX42" fmla="*/ 2440 w 10010"/>
              <a:gd name="connsiteY42" fmla="*/ 430 h 10000"/>
              <a:gd name="connsiteX43" fmla="*/ 2836 w 10010"/>
              <a:gd name="connsiteY43" fmla="*/ 718 h 10000"/>
              <a:gd name="connsiteX44" fmla="*/ 3166 w 10010"/>
              <a:gd name="connsiteY44" fmla="*/ 573 h 10000"/>
              <a:gd name="connsiteX45" fmla="*/ 3463 w 10010"/>
              <a:gd name="connsiteY45" fmla="*/ 108 h 10000"/>
              <a:gd name="connsiteX46" fmla="*/ 3827 w 10010"/>
              <a:gd name="connsiteY46" fmla="*/ 251 h 10000"/>
              <a:gd name="connsiteX47" fmla="*/ 4222 w 10010"/>
              <a:gd name="connsiteY47" fmla="*/ 0 h 10000"/>
              <a:gd name="connsiteX48" fmla="*/ 4817 w 10010"/>
              <a:gd name="connsiteY48" fmla="*/ 38 h 10000"/>
              <a:gd name="connsiteX49" fmla="*/ 5015 w 10010"/>
              <a:gd name="connsiteY49" fmla="*/ 467 h 10000"/>
              <a:gd name="connsiteX50" fmla="*/ 5709 w 10010"/>
              <a:gd name="connsiteY50" fmla="*/ 754 h 10000"/>
              <a:gd name="connsiteX51" fmla="*/ 5973 w 10010"/>
              <a:gd name="connsiteY51" fmla="*/ 931 h 10000"/>
              <a:gd name="connsiteX52" fmla="*/ 5906 w 10010"/>
              <a:gd name="connsiteY52" fmla="*/ 1148 h 10000"/>
              <a:gd name="connsiteX53" fmla="*/ 5906 w 10010"/>
              <a:gd name="connsiteY53" fmla="*/ 1541 h 10000"/>
              <a:gd name="connsiteX54" fmla="*/ 5873 w 10010"/>
              <a:gd name="connsiteY54" fmla="*/ 1899 h 10000"/>
              <a:gd name="connsiteX55" fmla="*/ 5510 w 10010"/>
              <a:gd name="connsiteY55" fmla="*/ 1973 h 10000"/>
              <a:gd name="connsiteX56" fmla="*/ 4849 w 10010"/>
              <a:gd name="connsiteY56" fmla="*/ 2223 h 10000"/>
              <a:gd name="connsiteX57" fmla="*/ 4784 w 10010"/>
              <a:gd name="connsiteY57" fmla="*/ 2546 h 10000"/>
              <a:gd name="connsiteX58" fmla="*/ 4949 w 10010"/>
              <a:gd name="connsiteY58" fmla="*/ 2831 h 10000"/>
              <a:gd name="connsiteX59" fmla="*/ 4784 w 10010"/>
              <a:gd name="connsiteY59" fmla="*/ 3047 h 10000"/>
              <a:gd name="connsiteX60" fmla="*/ 4652 w 10010"/>
              <a:gd name="connsiteY60" fmla="*/ 3155 h 10000"/>
              <a:gd name="connsiteX61" fmla="*/ 4751 w 10010"/>
              <a:gd name="connsiteY61" fmla="*/ 3869 h 10000"/>
              <a:gd name="connsiteX62" fmla="*/ 5279 w 10010"/>
              <a:gd name="connsiteY62" fmla="*/ 4374 h 10000"/>
              <a:gd name="connsiteX63" fmla="*/ 5675 w 10010"/>
              <a:gd name="connsiteY63" fmla="*/ 4733 h 10000"/>
              <a:gd name="connsiteX64" fmla="*/ 5939 w 10010"/>
              <a:gd name="connsiteY64" fmla="*/ 5844 h 10000"/>
              <a:gd name="connsiteX65" fmla="*/ 6731 w 10010"/>
              <a:gd name="connsiteY65" fmla="*/ 6846 h 10000"/>
              <a:gd name="connsiteX66" fmla="*/ 7260 w 10010"/>
              <a:gd name="connsiteY66" fmla="*/ 7063 h 10000"/>
              <a:gd name="connsiteX67" fmla="*/ 7854 w 10010"/>
              <a:gd name="connsiteY67" fmla="*/ 7098 h 10000"/>
              <a:gd name="connsiteX68" fmla="*/ 7921 w 10010"/>
              <a:gd name="connsiteY68" fmla="*/ 7350 h 10000"/>
              <a:gd name="connsiteX69" fmla="*/ 7623 w 10010"/>
              <a:gd name="connsiteY69" fmla="*/ 7566 h 10000"/>
              <a:gd name="connsiteX70" fmla="*/ 8548 w 10010"/>
              <a:gd name="connsiteY70" fmla="*/ 8208 h 10000"/>
              <a:gd name="connsiteX71" fmla="*/ 9109 w 10010"/>
              <a:gd name="connsiteY71" fmla="*/ 8603 h 10000"/>
              <a:gd name="connsiteX72" fmla="*/ 9505 w 10010"/>
              <a:gd name="connsiteY72" fmla="*/ 8819 h 10000"/>
              <a:gd name="connsiteX73" fmla="*/ 9637 w 10010"/>
              <a:gd name="connsiteY73" fmla="*/ 9069 h 10000"/>
              <a:gd name="connsiteX74" fmla="*/ 10000 w 10010"/>
              <a:gd name="connsiteY74" fmla="*/ 9573 h 10000"/>
              <a:gd name="connsiteX75" fmla="*/ 9889 w 10010"/>
              <a:gd name="connsiteY75" fmla="*/ 9940 h 10000"/>
              <a:gd name="connsiteX76" fmla="*/ 9680 w 10010"/>
              <a:gd name="connsiteY76" fmla="*/ 9909 h 10000"/>
              <a:gd name="connsiteX77" fmla="*/ 9505 w 10010"/>
              <a:gd name="connsiteY77" fmla="*/ 9715 h 10000"/>
              <a:gd name="connsiteX78" fmla="*/ 9406 w 10010"/>
              <a:gd name="connsiteY78" fmla="*/ 9391 h 10000"/>
              <a:gd name="connsiteX79" fmla="*/ 9076 w 10010"/>
              <a:gd name="connsiteY79" fmla="*/ 9320 h 10000"/>
              <a:gd name="connsiteX80" fmla="*/ 8712 w 10010"/>
              <a:gd name="connsiteY80" fmla="*/ 9033 h 10000"/>
              <a:gd name="connsiteX81" fmla="*/ 8316 w 10010"/>
              <a:gd name="connsiteY81" fmla="*/ 9429 h 10000"/>
              <a:gd name="connsiteX82" fmla="*/ 8184 w 10010"/>
              <a:gd name="connsiteY82" fmla="*/ 9750 h 10000"/>
              <a:gd name="connsiteX83" fmla="*/ 8085 w 10010"/>
              <a:gd name="connsiteY83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0010" h="10000">
                <a:moveTo>
                  <a:pt x="7431" y="9971"/>
                </a:moveTo>
                <a:cubicBezTo>
                  <a:pt x="7365" y="9830"/>
                  <a:pt x="7425" y="9967"/>
                  <a:pt x="7392" y="9822"/>
                </a:cubicBezTo>
                <a:cubicBezTo>
                  <a:pt x="7392" y="9643"/>
                  <a:pt x="7326" y="9501"/>
                  <a:pt x="7227" y="9537"/>
                </a:cubicBezTo>
                <a:cubicBezTo>
                  <a:pt x="7095" y="9537"/>
                  <a:pt x="7161" y="9680"/>
                  <a:pt x="7061" y="9643"/>
                </a:cubicBezTo>
                <a:cubicBezTo>
                  <a:pt x="6963" y="9643"/>
                  <a:pt x="6996" y="9680"/>
                  <a:pt x="6897" y="9573"/>
                </a:cubicBezTo>
                <a:cubicBezTo>
                  <a:pt x="6797" y="9462"/>
                  <a:pt x="6633" y="9391"/>
                  <a:pt x="6633" y="9248"/>
                </a:cubicBezTo>
                <a:cubicBezTo>
                  <a:pt x="6633" y="9142"/>
                  <a:pt x="6731" y="9142"/>
                  <a:pt x="6699" y="9033"/>
                </a:cubicBezTo>
                <a:cubicBezTo>
                  <a:pt x="6666" y="8925"/>
                  <a:pt x="6567" y="8675"/>
                  <a:pt x="6500" y="8675"/>
                </a:cubicBezTo>
                <a:cubicBezTo>
                  <a:pt x="6434" y="8710"/>
                  <a:pt x="6170" y="8892"/>
                  <a:pt x="6104" y="8782"/>
                </a:cubicBezTo>
                <a:cubicBezTo>
                  <a:pt x="6039" y="8710"/>
                  <a:pt x="6270" y="8640"/>
                  <a:pt x="6170" y="8533"/>
                </a:cubicBezTo>
                <a:cubicBezTo>
                  <a:pt x="6072" y="8424"/>
                  <a:pt x="6039" y="8460"/>
                  <a:pt x="5939" y="8460"/>
                </a:cubicBezTo>
                <a:cubicBezTo>
                  <a:pt x="5807" y="8460"/>
                  <a:pt x="5840" y="8283"/>
                  <a:pt x="5742" y="8101"/>
                </a:cubicBezTo>
                <a:cubicBezTo>
                  <a:pt x="5675" y="7920"/>
                  <a:pt x="5510" y="7813"/>
                  <a:pt x="5345" y="7813"/>
                </a:cubicBezTo>
                <a:cubicBezTo>
                  <a:pt x="5213" y="7779"/>
                  <a:pt x="5048" y="7779"/>
                  <a:pt x="5015" y="7813"/>
                </a:cubicBezTo>
                <a:cubicBezTo>
                  <a:pt x="4982" y="7813"/>
                  <a:pt x="4949" y="7673"/>
                  <a:pt x="4751" y="7566"/>
                </a:cubicBezTo>
                <a:cubicBezTo>
                  <a:pt x="4586" y="7419"/>
                  <a:pt x="4421" y="7277"/>
                  <a:pt x="4322" y="7063"/>
                </a:cubicBezTo>
                <a:cubicBezTo>
                  <a:pt x="4222" y="6882"/>
                  <a:pt x="3761" y="6203"/>
                  <a:pt x="3694" y="6164"/>
                </a:cubicBezTo>
                <a:cubicBezTo>
                  <a:pt x="3628" y="6132"/>
                  <a:pt x="3233" y="5595"/>
                  <a:pt x="3166" y="5483"/>
                </a:cubicBezTo>
                <a:cubicBezTo>
                  <a:pt x="3034" y="5377"/>
                  <a:pt x="2902" y="5447"/>
                  <a:pt x="2869" y="5305"/>
                </a:cubicBezTo>
                <a:cubicBezTo>
                  <a:pt x="2836" y="5127"/>
                  <a:pt x="2968" y="5019"/>
                  <a:pt x="2902" y="4733"/>
                </a:cubicBezTo>
                <a:cubicBezTo>
                  <a:pt x="2836" y="4410"/>
                  <a:pt x="2869" y="4016"/>
                  <a:pt x="2770" y="3869"/>
                </a:cubicBezTo>
                <a:cubicBezTo>
                  <a:pt x="2637" y="3766"/>
                  <a:pt x="2473" y="3836"/>
                  <a:pt x="2374" y="3692"/>
                </a:cubicBezTo>
                <a:cubicBezTo>
                  <a:pt x="2275" y="3512"/>
                  <a:pt x="2076" y="3333"/>
                  <a:pt x="1912" y="3229"/>
                </a:cubicBezTo>
                <a:cubicBezTo>
                  <a:pt x="1779" y="3155"/>
                  <a:pt x="1648" y="3083"/>
                  <a:pt x="1515" y="3118"/>
                </a:cubicBezTo>
                <a:cubicBezTo>
                  <a:pt x="1383" y="3155"/>
                  <a:pt x="1383" y="3190"/>
                  <a:pt x="1252" y="3372"/>
                </a:cubicBezTo>
                <a:cubicBezTo>
                  <a:pt x="1119" y="3512"/>
                  <a:pt x="1086" y="3584"/>
                  <a:pt x="988" y="3656"/>
                </a:cubicBezTo>
                <a:cubicBezTo>
                  <a:pt x="855" y="3727"/>
                  <a:pt x="525" y="3766"/>
                  <a:pt x="393" y="3799"/>
                </a:cubicBezTo>
                <a:lnTo>
                  <a:pt x="327" y="3799"/>
                </a:lnTo>
                <a:cubicBezTo>
                  <a:pt x="327" y="3727"/>
                  <a:pt x="360" y="3692"/>
                  <a:pt x="393" y="3656"/>
                </a:cubicBezTo>
                <a:cubicBezTo>
                  <a:pt x="525" y="3550"/>
                  <a:pt x="822" y="3372"/>
                  <a:pt x="657" y="3261"/>
                </a:cubicBezTo>
                <a:cubicBezTo>
                  <a:pt x="492" y="3118"/>
                  <a:pt x="63" y="3155"/>
                  <a:pt x="30" y="2867"/>
                </a:cubicBezTo>
                <a:cubicBezTo>
                  <a:pt x="30" y="2581"/>
                  <a:pt x="-36" y="2114"/>
                  <a:pt x="30" y="1973"/>
                </a:cubicBezTo>
                <a:cubicBezTo>
                  <a:pt x="128" y="1827"/>
                  <a:pt x="459" y="1684"/>
                  <a:pt x="427" y="1574"/>
                </a:cubicBezTo>
                <a:cubicBezTo>
                  <a:pt x="427" y="1470"/>
                  <a:pt x="162" y="1110"/>
                  <a:pt x="195" y="1039"/>
                </a:cubicBezTo>
                <a:cubicBezTo>
                  <a:pt x="228" y="931"/>
                  <a:pt x="492" y="966"/>
                  <a:pt x="492" y="825"/>
                </a:cubicBezTo>
                <a:lnTo>
                  <a:pt x="789" y="895"/>
                </a:lnTo>
                <a:cubicBezTo>
                  <a:pt x="921" y="895"/>
                  <a:pt x="1054" y="931"/>
                  <a:pt x="1119" y="862"/>
                </a:cubicBezTo>
                <a:cubicBezTo>
                  <a:pt x="1185" y="789"/>
                  <a:pt x="1449" y="322"/>
                  <a:pt x="1549" y="322"/>
                </a:cubicBezTo>
                <a:cubicBezTo>
                  <a:pt x="1648" y="322"/>
                  <a:pt x="1681" y="357"/>
                  <a:pt x="1779" y="395"/>
                </a:cubicBezTo>
                <a:cubicBezTo>
                  <a:pt x="1846" y="430"/>
                  <a:pt x="1779" y="647"/>
                  <a:pt x="1846" y="789"/>
                </a:cubicBezTo>
                <a:cubicBezTo>
                  <a:pt x="1846" y="895"/>
                  <a:pt x="1912" y="1290"/>
                  <a:pt x="1978" y="1290"/>
                </a:cubicBezTo>
                <a:cubicBezTo>
                  <a:pt x="2043" y="1290"/>
                  <a:pt x="2209" y="1184"/>
                  <a:pt x="2209" y="1184"/>
                </a:cubicBezTo>
                <a:cubicBezTo>
                  <a:pt x="2209" y="1184"/>
                  <a:pt x="2374" y="395"/>
                  <a:pt x="2440" y="430"/>
                </a:cubicBezTo>
                <a:cubicBezTo>
                  <a:pt x="2539" y="467"/>
                  <a:pt x="2770" y="754"/>
                  <a:pt x="2836" y="718"/>
                </a:cubicBezTo>
                <a:cubicBezTo>
                  <a:pt x="2902" y="647"/>
                  <a:pt x="3034" y="647"/>
                  <a:pt x="3166" y="573"/>
                </a:cubicBezTo>
                <a:cubicBezTo>
                  <a:pt x="3298" y="499"/>
                  <a:pt x="3430" y="286"/>
                  <a:pt x="3463" y="108"/>
                </a:cubicBezTo>
                <a:lnTo>
                  <a:pt x="3827" y="251"/>
                </a:lnTo>
                <a:cubicBezTo>
                  <a:pt x="3925" y="286"/>
                  <a:pt x="4222" y="0"/>
                  <a:pt x="4222" y="0"/>
                </a:cubicBezTo>
                <a:cubicBezTo>
                  <a:pt x="4222" y="0"/>
                  <a:pt x="4718" y="0"/>
                  <a:pt x="4817" y="38"/>
                </a:cubicBezTo>
                <a:cubicBezTo>
                  <a:pt x="4949" y="38"/>
                  <a:pt x="4849" y="395"/>
                  <a:pt x="5015" y="467"/>
                </a:cubicBezTo>
                <a:cubicBezTo>
                  <a:pt x="5180" y="499"/>
                  <a:pt x="5709" y="754"/>
                  <a:pt x="5709" y="754"/>
                </a:cubicBezTo>
                <a:lnTo>
                  <a:pt x="5973" y="931"/>
                </a:lnTo>
                <a:cubicBezTo>
                  <a:pt x="5873" y="966"/>
                  <a:pt x="5873" y="1039"/>
                  <a:pt x="5906" y="1148"/>
                </a:cubicBezTo>
                <a:cubicBezTo>
                  <a:pt x="5939" y="1290"/>
                  <a:pt x="5906" y="1541"/>
                  <a:pt x="5906" y="1541"/>
                </a:cubicBezTo>
                <a:cubicBezTo>
                  <a:pt x="5895" y="1663"/>
                  <a:pt x="5884" y="1781"/>
                  <a:pt x="5873" y="1899"/>
                </a:cubicBezTo>
                <a:cubicBezTo>
                  <a:pt x="5774" y="1899"/>
                  <a:pt x="5609" y="1937"/>
                  <a:pt x="5510" y="1973"/>
                </a:cubicBezTo>
                <a:cubicBezTo>
                  <a:pt x="5411" y="2008"/>
                  <a:pt x="4949" y="2151"/>
                  <a:pt x="4849" y="2223"/>
                </a:cubicBezTo>
                <a:cubicBezTo>
                  <a:pt x="4784" y="2294"/>
                  <a:pt x="4751" y="2509"/>
                  <a:pt x="4784" y="2546"/>
                </a:cubicBezTo>
                <a:cubicBezTo>
                  <a:pt x="4784" y="2617"/>
                  <a:pt x="4949" y="2760"/>
                  <a:pt x="4949" y="2831"/>
                </a:cubicBezTo>
                <a:cubicBezTo>
                  <a:pt x="4916" y="2901"/>
                  <a:pt x="4849" y="3047"/>
                  <a:pt x="4784" y="3047"/>
                </a:cubicBezTo>
                <a:cubicBezTo>
                  <a:pt x="4751" y="3047"/>
                  <a:pt x="4652" y="3011"/>
                  <a:pt x="4652" y="3155"/>
                </a:cubicBezTo>
                <a:cubicBezTo>
                  <a:pt x="4619" y="3261"/>
                  <a:pt x="4685" y="3799"/>
                  <a:pt x="4751" y="3869"/>
                </a:cubicBezTo>
                <a:cubicBezTo>
                  <a:pt x="4817" y="3942"/>
                  <a:pt x="5147" y="4264"/>
                  <a:pt x="5279" y="4374"/>
                </a:cubicBezTo>
                <a:cubicBezTo>
                  <a:pt x="5378" y="4479"/>
                  <a:pt x="5642" y="4658"/>
                  <a:pt x="5675" y="4733"/>
                </a:cubicBezTo>
                <a:cubicBezTo>
                  <a:pt x="5742" y="4839"/>
                  <a:pt x="5906" y="5663"/>
                  <a:pt x="5939" y="5844"/>
                </a:cubicBezTo>
                <a:cubicBezTo>
                  <a:pt x="6006" y="6022"/>
                  <a:pt x="6600" y="6774"/>
                  <a:pt x="6731" y="6846"/>
                </a:cubicBezTo>
                <a:cubicBezTo>
                  <a:pt x="6831" y="6956"/>
                  <a:pt x="7061" y="7063"/>
                  <a:pt x="7260" y="7063"/>
                </a:cubicBezTo>
                <a:cubicBezTo>
                  <a:pt x="7491" y="7063"/>
                  <a:pt x="7788" y="7063"/>
                  <a:pt x="7854" y="7098"/>
                </a:cubicBezTo>
                <a:cubicBezTo>
                  <a:pt x="7921" y="7134"/>
                  <a:pt x="7986" y="7277"/>
                  <a:pt x="7921" y="7350"/>
                </a:cubicBezTo>
                <a:cubicBezTo>
                  <a:pt x="7887" y="7385"/>
                  <a:pt x="7623" y="7419"/>
                  <a:pt x="7623" y="7566"/>
                </a:cubicBezTo>
                <a:cubicBezTo>
                  <a:pt x="7623" y="7673"/>
                  <a:pt x="8316" y="8138"/>
                  <a:pt x="8548" y="8208"/>
                </a:cubicBezTo>
                <a:cubicBezTo>
                  <a:pt x="8779" y="8283"/>
                  <a:pt x="8976" y="8533"/>
                  <a:pt x="9109" y="8603"/>
                </a:cubicBezTo>
                <a:cubicBezTo>
                  <a:pt x="9208" y="8675"/>
                  <a:pt x="9373" y="8782"/>
                  <a:pt x="9505" y="8819"/>
                </a:cubicBezTo>
                <a:cubicBezTo>
                  <a:pt x="9604" y="8892"/>
                  <a:pt x="9537" y="8997"/>
                  <a:pt x="9637" y="9069"/>
                </a:cubicBezTo>
                <a:cubicBezTo>
                  <a:pt x="9769" y="9177"/>
                  <a:pt x="9958" y="9428"/>
                  <a:pt x="10000" y="9573"/>
                </a:cubicBezTo>
                <a:cubicBezTo>
                  <a:pt x="10042" y="9718"/>
                  <a:pt x="9942" y="9884"/>
                  <a:pt x="9889" y="9940"/>
                </a:cubicBezTo>
                <a:cubicBezTo>
                  <a:pt x="9836" y="9996"/>
                  <a:pt x="9744" y="9947"/>
                  <a:pt x="9680" y="9909"/>
                </a:cubicBezTo>
                <a:cubicBezTo>
                  <a:pt x="9616" y="9871"/>
                  <a:pt x="9551" y="9801"/>
                  <a:pt x="9505" y="9715"/>
                </a:cubicBezTo>
                <a:cubicBezTo>
                  <a:pt x="9459" y="9629"/>
                  <a:pt x="9439" y="9462"/>
                  <a:pt x="9406" y="9391"/>
                </a:cubicBezTo>
                <a:cubicBezTo>
                  <a:pt x="9373" y="9358"/>
                  <a:pt x="9208" y="9391"/>
                  <a:pt x="9076" y="9320"/>
                </a:cubicBezTo>
                <a:cubicBezTo>
                  <a:pt x="8943" y="9248"/>
                  <a:pt x="8812" y="9033"/>
                  <a:pt x="8712" y="9033"/>
                </a:cubicBezTo>
                <a:cubicBezTo>
                  <a:pt x="8613" y="8997"/>
                  <a:pt x="8382" y="9285"/>
                  <a:pt x="8316" y="9429"/>
                </a:cubicBezTo>
                <a:cubicBezTo>
                  <a:pt x="8283" y="9573"/>
                  <a:pt x="8251" y="9680"/>
                  <a:pt x="8184" y="9750"/>
                </a:cubicBezTo>
                <a:cubicBezTo>
                  <a:pt x="8184" y="9822"/>
                  <a:pt x="8085" y="9857"/>
                  <a:pt x="8085" y="10000"/>
                </a:cubicBezTo>
              </a:path>
            </a:pathLst>
          </a:custGeom>
          <a:solidFill>
            <a:schemeClr val="bg2">
              <a:lumMod val="7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2000">
              <a:solidFill>
                <a:srgbClr val="000000"/>
              </a:solidFill>
            </a:endParaRPr>
          </a:p>
        </p:txBody>
      </p:sp>
      <p:sp>
        <p:nvSpPr>
          <p:cNvPr id="163" name="Freeform 802"/>
          <p:cNvSpPr>
            <a:spLocks/>
          </p:cNvSpPr>
          <p:nvPr/>
        </p:nvSpPr>
        <p:spPr bwMode="auto">
          <a:xfrm>
            <a:off x="4309750" y="4313431"/>
            <a:ext cx="650940" cy="760552"/>
          </a:xfrm>
          <a:custGeom>
            <a:avLst/>
            <a:gdLst>
              <a:gd name="T0" fmla="*/ 109 w 109"/>
              <a:gd name="T1" fmla="*/ 109 h 152"/>
              <a:gd name="T2" fmla="*/ 92 w 109"/>
              <a:gd name="T3" fmla="*/ 139 h 152"/>
              <a:gd name="T4" fmla="*/ 82 w 109"/>
              <a:gd name="T5" fmla="*/ 141 h 152"/>
              <a:gd name="T6" fmla="*/ 58 w 109"/>
              <a:gd name="T7" fmla="*/ 149 h 152"/>
              <a:gd name="T8" fmla="*/ 46 w 109"/>
              <a:gd name="T9" fmla="*/ 152 h 152"/>
              <a:gd name="T10" fmla="*/ 33 w 109"/>
              <a:gd name="T11" fmla="*/ 134 h 152"/>
              <a:gd name="T12" fmla="*/ 39 w 109"/>
              <a:gd name="T13" fmla="*/ 122 h 152"/>
              <a:gd name="T14" fmla="*/ 17 w 109"/>
              <a:gd name="T15" fmla="*/ 105 h 152"/>
              <a:gd name="T16" fmla="*/ 11 w 109"/>
              <a:gd name="T17" fmla="*/ 98 h 152"/>
              <a:gd name="T18" fmla="*/ 15 w 109"/>
              <a:gd name="T19" fmla="*/ 93 h 152"/>
              <a:gd name="T20" fmla="*/ 17 w 109"/>
              <a:gd name="T21" fmla="*/ 78 h 152"/>
              <a:gd name="T22" fmla="*/ 5 w 109"/>
              <a:gd name="T23" fmla="*/ 67 h 152"/>
              <a:gd name="T24" fmla="*/ 10 w 109"/>
              <a:gd name="T25" fmla="*/ 47 h 152"/>
              <a:gd name="T26" fmla="*/ 3 w 109"/>
              <a:gd name="T27" fmla="*/ 46 h 152"/>
              <a:gd name="T28" fmla="*/ 7 w 109"/>
              <a:gd name="T29" fmla="*/ 35 h 152"/>
              <a:gd name="T30" fmla="*/ 2 w 109"/>
              <a:gd name="T31" fmla="*/ 19 h 152"/>
              <a:gd name="T32" fmla="*/ 0 w 109"/>
              <a:gd name="T33" fmla="*/ 9 h 152"/>
              <a:gd name="T34" fmla="*/ 6 w 109"/>
              <a:gd name="T35" fmla="*/ 9 h 152"/>
              <a:gd name="T36" fmla="*/ 34 w 109"/>
              <a:gd name="T37" fmla="*/ 1 h 152"/>
              <a:gd name="T38" fmla="*/ 38 w 109"/>
              <a:gd name="T39" fmla="*/ 5 h 152"/>
              <a:gd name="T40" fmla="*/ 39 w 109"/>
              <a:gd name="T41" fmla="*/ 5 h 152"/>
              <a:gd name="T42" fmla="*/ 49 w 109"/>
              <a:gd name="T43" fmla="*/ 18 h 152"/>
              <a:gd name="T44" fmla="*/ 67 w 109"/>
              <a:gd name="T45" fmla="*/ 35 h 152"/>
              <a:gd name="T46" fmla="*/ 65 w 109"/>
              <a:gd name="T47" fmla="*/ 46 h 152"/>
              <a:gd name="T48" fmla="*/ 81 w 109"/>
              <a:gd name="T49" fmla="*/ 60 h 152"/>
              <a:gd name="T50" fmla="*/ 95 w 109"/>
              <a:gd name="T51" fmla="*/ 56 h 152"/>
              <a:gd name="T52" fmla="*/ 101 w 109"/>
              <a:gd name="T53" fmla="*/ 70 h 152"/>
              <a:gd name="T54" fmla="*/ 93 w 109"/>
              <a:gd name="T55" fmla="*/ 87 h 152"/>
              <a:gd name="T56" fmla="*/ 109 w 109"/>
              <a:gd name="T57" fmla="*/ 10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152">
                <a:moveTo>
                  <a:pt x="109" y="109"/>
                </a:moveTo>
                <a:cubicBezTo>
                  <a:pt x="109" y="109"/>
                  <a:pt x="96" y="133"/>
                  <a:pt x="92" y="139"/>
                </a:cubicBezTo>
                <a:cubicBezTo>
                  <a:pt x="82" y="141"/>
                  <a:pt x="82" y="141"/>
                  <a:pt x="82" y="141"/>
                </a:cubicBezTo>
                <a:cubicBezTo>
                  <a:pt x="58" y="149"/>
                  <a:pt x="58" y="149"/>
                  <a:pt x="58" y="149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4" y="145"/>
                  <a:pt x="36" y="138"/>
                  <a:pt x="33" y="134"/>
                </a:cubicBezTo>
                <a:cubicBezTo>
                  <a:pt x="30" y="129"/>
                  <a:pt x="39" y="125"/>
                  <a:pt x="39" y="122"/>
                </a:cubicBezTo>
                <a:cubicBezTo>
                  <a:pt x="39" y="119"/>
                  <a:pt x="29" y="115"/>
                  <a:pt x="17" y="105"/>
                </a:cubicBezTo>
                <a:cubicBezTo>
                  <a:pt x="13" y="102"/>
                  <a:pt x="11" y="100"/>
                  <a:pt x="11" y="98"/>
                </a:cubicBezTo>
                <a:cubicBezTo>
                  <a:pt x="9" y="94"/>
                  <a:pt x="13" y="93"/>
                  <a:pt x="15" y="93"/>
                </a:cubicBezTo>
                <a:cubicBezTo>
                  <a:pt x="19" y="93"/>
                  <a:pt x="18" y="81"/>
                  <a:pt x="17" y="78"/>
                </a:cubicBezTo>
                <a:cubicBezTo>
                  <a:pt x="17" y="75"/>
                  <a:pt x="7" y="70"/>
                  <a:pt x="5" y="67"/>
                </a:cubicBezTo>
                <a:cubicBezTo>
                  <a:pt x="2" y="65"/>
                  <a:pt x="14" y="49"/>
                  <a:pt x="10" y="47"/>
                </a:cubicBezTo>
                <a:cubicBezTo>
                  <a:pt x="8" y="47"/>
                  <a:pt x="6" y="47"/>
                  <a:pt x="3" y="46"/>
                </a:cubicBezTo>
                <a:cubicBezTo>
                  <a:pt x="7" y="35"/>
                  <a:pt x="7" y="35"/>
                  <a:pt x="7" y="35"/>
                </a:cubicBezTo>
                <a:cubicBezTo>
                  <a:pt x="2" y="19"/>
                  <a:pt x="2" y="19"/>
                  <a:pt x="2" y="19"/>
                </a:cubicBezTo>
                <a:cubicBezTo>
                  <a:pt x="0" y="9"/>
                  <a:pt x="0" y="9"/>
                  <a:pt x="0" y="9"/>
                </a:cubicBezTo>
                <a:cubicBezTo>
                  <a:pt x="3" y="9"/>
                  <a:pt x="5" y="9"/>
                  <a:pt x="6" y="9"/>
                </a:cubicBezTo>
                <a:cubicBezTo>
                  <a:pt x="12" y="9"/>
                  <a:pt x="30" y="0"/>
                  <a:pt x="34" y="1"/>
                </a:cubicBezTo>
                <a:cubicBezTo>
                  <a:pt x="35" y="2"/>
                  <a:pt x="37" y="3"/>
                  <a:pt x="38" y="5"/>
                </a:cubicBezTo>
                <a:cubicBezTo>
                  <a:pt x="39" y="5"/>
                  <a:pt x="39" y="5"/>
                  <a:pt x="39" y="5"/>
                </a:cubicBezTo>
                <a:cubicBezTo>
                  <a:pt x="42" y="9"/>
                  <a:pt x="47" y="15"/>
                  <a:pt x="49" y="18"/>
                </a:cubicBezTo>
                <a:cubicBezTo>
                  <a:pt x="53" y="23"/>
                  <a:pt x="67" y="35"/>
                  <a:pt x="67" y="35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6"/>
                  <a:pt x="78" y="58"/>
                  <a:pt x="81" y="60"/>
                </a:cubicBezTo>
                <a:cubicBezTo>
                  <a:pt x="85" y="62"/>
                  <a:pt x="90" y="53"/>
                  <a:pt x="95" y="56"/>
                </a:cubicBezTo>
                <a:cubicBezTo>
                  <a:pt x="99" y="59"/>
                  <a:pt x="101" y="67"/>
                  <a:pt x="101" y="70"/>
                </a:cubicBezTo>
                <a:cubicBezTo>
                  <a:pt x="101" y="73"/>
                  <a:pt x="95" y="78"/>
                  <a:pt x="93" y="87"/>
                </a:cubicBezTo>
                <a:cubicBezTo>
                  <a:pt x="92" y="95"/>
                  <a:pt x="109" y="109"/>
                  <a:pt x="109" y="10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64" name="Freeform 825"/>
          <p:cNvSpPr>
            <a:spLocks/>
          </p:cNvSpPr>
          <p:nvPr/>
        </p:nvSpPr>
        <p:spPr bwMode="auto">
          <a:xfrm>
            <a:off x="3472826" y="4227431"/>
            <a:ext cx="878610" cy="690677"/>
          </a:xfrm>
          <a:custGeom>
            <a:avLst/>
            <a:gdLst>
              <a:gd name="T0" fmla="*/ 9 w 147"/>
              <a:gd name="T1" fmla="*/ 30 h 138"/>
              <a:gd name="T2" fmla="*/ 15 w 147"/>
              <a:gd name="T3" fmla="*/ 31 h 138"/>
              <a:gd name="T4" fmla="*/ 41 w 147"/>
              <a:gd name="T5" fmla="*/ 34 h 138"/>
              <a:gd name="T6" fmla="*/ 53 w 147"/>
              <a:gd name="T7" fmla="*/ 30 h 138"/>
              <a:gd name="T8" fmla="*/ 57 w 147"/>
              <a:gd name="T9" fmla="*/ 15 h 138"/>
              <a:gd name="T10" fmla="*/ 69 w 147"/>
              <a:gd name="T11" fmla="*/ 6 h 138"/>
              <a:gd name="T12" fmla="*/ 79 w 147"/>
              <a:gd name="T13" fmla="*/ 0 h 138"/>
              <a:gd name="T14" fmla="*/ 88 w 147"/>
              <a:gd name="T15" fmla="*/ 8 h 138"/>
              <a:gd name="T16" fmla="*/ 115 w 147"/>
              <a:gd name="T17" fmla="*/ 28 h 138"/>
              <a:gd name="T18" fmla="*/ 140 w 147"/>
              <a:gd name="T19" fmla="*/ 26 h 138"/>
              <a:gd name="T20" fmla="*/ 142 w 147"/>
              <a:gd name="T21" fmla="*/ 36 h 138"/>
              <a:gd name="T22" fmla="*/ 147 w 147"/>
              <a:gd name="T23" fmla="*/ 52 h 138"/>
              <a:gd name="T24" fmla="*/ 143 w 147"/>
              <a:gd name="T25" fmla="*/ 63 h 138"/>
              <a:gd name="T26" fmla="*/ 133 w 147"/>
              <a:gd name="T27" fmla="*/ 60 h 138"/>
              <a:gd name="T28" fmla="*/ 112 w 147"/>
              <a:gd name="T29" fmla="*/ 56 h 138"/>
              <a:gd name="T30" fmla="*/ 88 w 147"/>
              <a:gd name="T31" fmla="*/ 50 h 138"/>
              <a:gd name="T32" fmla="*/ 75 w 147"/>
              <a:gd name="T33" fmla="*/ 58 h 138"/>
              <a:gd name="T34" fmla="*/ 61 w 147"/>
              <a:gd name="T35" fmla="*/ 50 h 138"/>
              <a:gd name="T36" fmla="*/ 59 w 147"/>
              <a:gd name="T37" fmla="*/ 66 h 138"/>
              <a:gd name="T38" fmla="*/ 73 w 147"/>
              <a:gd name="T39" fmla="*/ 91 h 138"/>
              <a:gd name="T40" fmla="*/ 99 w 147"/>
              <a:gd name="T41" fmla="*/ 115 h 138"/>
              <a:gd name="T42" fmla="*/ 108 w 147"/>
              <a:gd name="T43" fmla="*/ 128 h 138"/>
              <a:gd name="T44" fmla="*/ 101 w 147"/>
              <a:gd name="T45" fmla="*/ 138 h 138"/>
              <a:gd name="T46" fmla="*/ 86 w 147"/>
              <a:gd name="T47" fmla="*/ 134 h 138"/>
              <a:gd name="T48" fmla="*/ 86 w 147"/>
              <a:gd name="T49" fmla="*/ 130 h 138"/>
              <a:gd name="T50" fmla="*/ 93 w 147"/>
              <a:gd name="T51" fmla="*/ 129 h 138"/>
              <a:gd name="T52" fmla="*/ 85 w 147"/>
              <a:gd name="T53" fmla="*/ 120 h 138"/>
              <a:gd name="T54" fmla="*/ 73 w 147"/>
              <a:gd name="T55" fmla="*/ 115 h 138"/>
              <a:gd name="T56" fmla="*/ 61 w 147"/>
              <a:gd name="T57" fmla="*/ 114 h 138"/>
              <a:gd name="T58" fmla="*/ 55 w 147"/>
              <a:gd name="T59" fmla="*/ 106 h 138"/>
              <a:gd name="T60" fmla="*/ 48 w 147"/>
              <a:gd name="T61" fmla="*/ 98 h 138"/>
              <a:gd name="T62" fmla="*/ 38 w 147"/>
              <a:gd name="T63" fmla="*/ 82 h 138"/>
              <a:gd name="T64" fmla="*/ 33 w 147"/>
              <a:gd name="T65" fmla="*/ 63 h 138"/>
              <a:gd name="T66" fmla="*/ 33 w 147"/>
              <a:gd name="T67" fmla="*/ 54 h 138"/>
              <a:gd name="T68" fmla="*/ 22 w 147"/>
              <a:gd name="T69" fmla="*/ 42 h 138"/>
              <a:gd name="T70" fmla="*/ 16 w 147"/>
              <a:gd name="T71" fmla="*/ 55 h 138"/>
              <a:gd name="T72" fmla="*/ 12 w 147"/>
              <a:gd name="T73" fmla="*/ 58 h 138"/>
              <a:gd name="T74" fmla="*/ 11 w 147"/>
              <a:gd name="T75" fmla="*/ 62 h 138"/>
              <a:gd name="T76" fmla="*/ 6 w 147"/>
              <a:gd name="T77" fmla="*/ 61 h 138"/>
              <a:gd name="T78" fmla="*/ 0 w 147"/>
              <a:gd name="T79" fmla="*/ 46 h 138"/>
              <a:gd name="T80" fmla="*/ 0 w 147"/>
              <a:gd name="T81" fmla="*/ 35 h 138"/>
              <a:gd name="T82" fmla="*/ 8 w 147"/>
              <a:gd name="T83" fmla="*/ 32 h 138"/>
              <a:gd name="T84" fmla="*/ 9 w 147"/>
              <a:gd name="T85" fmla="*/ 3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7" h="138">
                <a:moveTo>
                  <a:pt x="9" y="30"/>
                </a:moveTo>
                <a:cubicBezTo>
                  <a:pt x="15" y="31"/>
                  <a:pt x="15" y="31"/>
                  <a:pt x="15" y="31"/>
                </a:cubicBezTo>
                <a:cubicBezTo>
                  <a:pt x="20" y="30"/>
                  <a:pt x="37" y="33"/>
                  <a:pt x="41" y="34"/>
                </a:cubicBezTo>
                <a:cubicBezTo>
                  <a:pt x="46" y="34"/>
                  <a:pt x="51" y="35"/>
                  <a:pt x="53" y="30"/>
                </a:cubicBezTo>
                <a:cubicBezTo>
                  <a:pt x="55" y="26"/>
                  <a:pt x="59" y="18"/>
                  <a:pt x="57" y="15"/>
                </a:cubicBezTo>
                <a:cubicBezTo>
                  <a:pt x="54" y="12"/>
                  <a:pt x="69" y="6"/>
                  <a:pt x="69" y="6"/>
                </a:cubicBezTo>
                <a:cubicBezTo>
                  <a:pt x="79" y="0"/>
                  <a:pt x="79" y="0"/>
                  <a:pt x="79" y="0"/>
                </a:cubicBezTo>
                <a:cubicBezTo>
                  <a:pt x="82" y="3"/>
                  <a:pt x="85" y="6"/>
                  <a:pt x="88" y="8"/>
                </a:cubicBezTo>
                <a:cubicBezTo>
                  <a:pt x="93" y="14"/>
                  <a:pt x="110" y="23"/>
                  <a:pt x="115" y="28"/>
                </a:cubicBezTo>
                <a:cubicBezTo>
                  <a:pt x="119" y="31"/>
                  <a:pt x="132" y="28"/>
                  <a:pt x="140" y="26"/>
                </a:cubicBezTo>
                <a:cubicBezTo>
                  <a:pt x="142" y="36"/>
                  <a:pt x="142" y="36"/>
                  <a:pt x="142" y="36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3" y="63"/>
                  <a:pt x="143" y="63"/>
                  <a:pt x="143" y="63"/>
                </a:cubicBezTo>
                <a:cubicBezTo>
                  <a:pt x="140" y="63"/>
                  <a:pt x="136" y="62"/>
                  <a:pt x="133" y="60"/>
                </a:cubicBezTo>
                <a:cubicBezTo>
                  <a:pt x="128" y="55"/>
                  <a:pt x="119" y="56"/>
                  <a:pt x="112" y="56"/>
                </a:cubicBezTo>
                <a:cubicBezTo>
                  <a:pt x="105" y="56"/>
                  <a:pt x="95" y="50"/>
                  <a:pt x="88" y="50"/>
                </a:cubicBezTo>
                <a:cubicBezTo>
                  <a:pt x="81" y="50"/>
                  <a:pt x="77" y="56"/>
                  <a:pt x="75" y="58"/>
                </a:cubicBezTo>
                <a:cubicBezTo>
                  <a:pt x="74" y="60"/>
                  <a:pt x="68" y="47"/>
                  <a:pt x="61" y="50"/>
                </a:cubicBezTo>
                <a:cubicBezTo>
                  <a:pt x="53" y="52"/>
                  <a:pt x="59" y="59"/>
                  <a:pt x="59" y="66"/>
                </a:cubicBezTo>
                <a:cubicBezTo>
                  <a:pt x="60" y="72"/>
                  <a:pt x="69" y="83"/>
                  <a:pt x="73" y="91"/>
                </a:cubicBezTo>
                <a:cubicBezTo>
                  <a:pt x="78" y="99"/>
                  <a:pt x="93" y="110"/>
                  <a:pt x="99" y="115"/>
                </a:cubicBezTo>
                <a:cubicBezTo>
                  <a:pt x="105" y="120"/>
                  <a:pt x="108" y="125"/>
                  <a:pt x="108" y="128"/>
                </a:cubicBezTo>
                <a:cubicBezTo>
                  <a:pt x="108" y="130"/>
                  <a:pt x="104" y="135"/>
                  <a:pt x="101" y="138"/>
                </a:cubicBezTo>
                <a:cubicBezTo>
                  <a:pt x="95" y="136"/>
                  <a:pt x="89" y="135"/>
                  <a:pt x="86" y="134"/>
                </a:cubicBezTo>
                <a:cubicBezTo>
                  <a:pt x="84" y="132"/>
                  <a:pt x="86" y="130"/>
                  <a:pt x="86" y="130"/>
                </a:cubicBezTo>
                <a:cubicBezTo>
                  <a:pt x="86" y="130"/>
                  <a:pt x="92" y="131"/>
                  <a:pt x="93" y="129"/>
                </a:cubicBezTo>
                <a:cubicBezTo>
                  <a:pt x="94" y="128"/>
                  <a:pt x="87" y="121"/>
                  <a:pt x="85" y="120"/>
                </a:cubicBezTo>
                <a:cubicBezTo>
                  <a:pt x="82" y="118"/>
                  <a:pt x="75" y="115"/>
                  <a:pt x="73" y="115"/>
                </a:cubicBezTo>
                <a:cubicBezTo>
                  <a:pt x="70" y="114"/>
                  <a:pt x="65" y="116"/>
                  <a:pt x="61" y="114"/>
                </a:cubicBezTo>
                <a:cubicBezTo>
                  <a:pt x="57" y="111"/>
                  <a:pt x="60" y="108"/>
                  <a:pt x="55" y="106"/>
                </a:cubicBezTo>
                <a:cubicBezTo>
                  <a:pt x="50" y="103"/>
                  <a:pt x="52" y="102"/>
                  <a:pt x="48" y="98"/>
                </a:cubicBezTo>
                <a:cubicBezTo>
                  <a:pt x="44" y="95"/>
                  <a:pt x="38" y="86"/>
                  <a:pt x="38" y="82"/>
                </a:cubicBezTo>
                <a:cubicBezTo>
                  <a:pt x="37" y="79"/>
                  <a:pt x="32" y="67"/>
                  <a:pt x="33" y="63"/>
                </a:cubicBezTo>
                <a:cubicBezTo>
                  <a:pt x="34" y="59"/>
                  <a:pt x="36" y="58"/>
                  <a:pt x="33" y="54"/>
                </a:cubicBezTo>
                <a:cubicBezTo>
                  <a:pt x="30" y="50"/>
                  <a:pt x="25" y="42"/>
                  <a:pt x="22" y="42"/>
                </a:cubicBezTo>
                <a:cubicBezTo>
                  <a:pt x="20" y="42"/>
                  <a:pt x="18" y="53"/>
                  <a:pt x="16" y="55"/>
                </a:cubicBezTo>
                <a:cubicBezTo>
                  <a:pt x="15" y="57"/>
                  <a:pt x="13" y="56"/>
                  <a:pt x="12" y="58"/>
                </a:cubicBezTo>
                <a:cubicBezTo>
                  <a:pt x="12" y="59"/>
                  <a:pt x="12" y="62"/>
                  <a:pt x="11" y="62"/>
                </a:cubicBezTo>
                <a:cubicBezTo>
                  <a:pt x="9" y="62"/>
                  <a:pt x="8" y="63"/>
                  <a:pt x="6" y="61"/>
                </a:cubicBezTo>
                <a:cubicBezTo>
                  <a:pt x="5" y="58"/>
                  <a:pt x="0" y="49"/>
                  <a:pt x="0" y="46"/>
                </a:cubicBezTo>
                <a:cubicBezTo>
                  <a:pt x="0" y="44"/>
                  <a:pt x="0" y="36"/>
                  <a:pt x="0" y="35"/>
                </a:cubicBezTo>
                <a:cubicBezTo>
                  <a:pt x="2" y="34"/>
                  <a:pt x="8" y="34"/>
                  <a:pt x="8" y="32"/>
                </a:cubicBezTo>
                <a:cubicBezTo>
                  <a:pt x="9" y="31"/>
                  <a:pt x="9" y="30"/>
                  <a:pt x="9" y="3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 cap="flat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65" name="Freeform 826"/>
          <p:cNvSpPr>
            <a:spLocks/>
          </p:cNvSpPr>
          <p:nvPr/>
        </p:nvSpPr>
        <p:spPr bwMode="auto">
          <a:xfrm>
            <a:off x="3482446" y="4168307"/>
            <a:ext cx="461751" cy="233809"/>
          </a:xfrm>
          <a:custGeom>
            <a:avLst/>
            <a:gdLst>
              <a:gd name="T0" fmla="*/ 3 w 77"/>
              <a:gd name="T1" fmla="*/ 37 h 47"/>
              <a:gd name="T2" fmla="*/ 0 w 77"/>
              <a:gd name="T3" fmla="*/ 38 h 47"/>
              <a:gd name="T4" fmla="*/ 1 w 77"/>
              <a:gd name="T5" fmla="*/ 28 h 47"/>
              <a:gd name="T6" fmla="*/ 1 w 77"/>
              <a:gd name="T7" fmla="*/ 17 h 47"/>
              <a:gd name="T8" fmla="*/ 3 w 77"/>
              <a:gd name="T9" fmla="*/ 11 h 47"/>
              <a:gd name="T10" fmla="*/ 7 w 77"/>
              <a:gd name="T11" fmla="*/ 10 h 47"/>
              <a:gd name="T12" fmla="*/ 23 w 77"/>
              <a:gd name="T13" fmla="*/ 12 h 47"/>
              <a:gd name="T14" fmla="*/ 35 w 77"/>
              <a:gd name="T15" fmla="*/ 5 h 47"/>
              <a:gd name="T16" fmla="*/ 61 w 77"/>
              <a:gd name="T17" fmla="*/ 2 h 47"/>
              <a:gd name="T18" fmla="*/ 73 w 77"/>
              <a:gd name="T19" fmla="*/ 0 h 47"/>
              <a:gd name="T20" fmla="*/ 77 w 77"/>
              <a:gd name="T21" fmla="*/ 12 h 47"/>
              <a:gd name="T22" fmla="*/ 67 w 77"/>
              <a:gd name="T23" fmla="*/ 18 h 47"/>
              <a:gd name="T24" fmla="*/ 55 w 77"/>
              <a:gd name="T25" fmla="*/ 27 h 47"/>
              <a:gd name="T26" fmla="*/ 51 w 77"/>
              <a:gd name="T27" fmla="*/ 42 h 47"/>
              <a:gd name="T28" fmla="*/ 39 w 77"/>
              <a:gd name="T29" fmla="*/ 46 h 47"/>
              <a:gd name="T30" fmla="*/ 13 w 77"/>
              <a:gd name="T31" fmla="*/ 43 h 47"/>
              <a:gd name="T32" fmla="*/ 7 w 77"/>
              <a:gd name="T33" fmla="*/ 42 h 47"/>
              <a:gd name="T34" fmla="*/ 3 w 77"/>
              <a:gd name="T35" fmla="*/ 3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7" h="47">
                <a:moveTo>
                  <a:pt x="3" y="37"/>
                </a:moveTo>
                <a:cubicBezTo>
                  <a:pt x="2" y="37"/>
                  <a:pt x="1" y="37"/>
                  <a:pt x="0" y="3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2" y="21"/>
                  <a:pt x="1" y="17"/>
                </a:cubicBezTo>
                <a:cubicBezTo>
                  <a:pt x="0" y="14"/>
                  <a:pt x="0" y="12"/>
                  <a:pt x="3" y="11"/>
                </a:cubicBezTo>
                <a:cubicBezTo>
                  <a:pt x="4" y="10"/>
                  <a:pt x="5" y="10"/>
                  <a:pt x="7" y="10"/>
                </a:cubicBezTo>
                <a:cubicBezTo>
                  <a:pt x="12" y="8"/>
                  <a:pt x="18" y="9"/>
                  <a:pt x="23" y="12"/>
                </a:cubicBezTo>
                <a:cubicBezTo>
                  <a:pt x="27" y="14"/>
                  <a:pt x="31" y="8"/>
                  <a:pt x="35" y="5"/>
                </a:cubicBezTo>
                <a:cubicBezTo>
                  <a:pt x="40" y="2"/>
                  <a:pt x="55" y="1"/>
                  <a:pt x="61" y="2"/>
                </a:cubicBezTo>
                <a:cubicBezTo>
                  <a:pt x="73" y="0"/>
                  <a:pt x="73" y="0"/>
                  <a:pt x="73" y="0"/>
                </a:cubicBezTo>
                <a:cubicBezTo>
                  <a:pt x="71" y="4"/>
                  <a:pt x="73" y="8"/>
                  <a:pt x="77" y="12"/>
                </a:cubicBezTo>
                <a:cubicBezTo>
                  <a:pt x="67" y="18"/>
                  <a:pt x="67" y="18"/>
                  <a:pt x="67" y="18"/>
                </a:cubicBezTo>
                <a:cubicBezTo>
                  <a:pt x="67" y="18"/>
                  <a:pt x="52" y="24"/>
                  <a:pt x="55" y="27"/>
                </a:cubicBezTo>
                <a:cubicBezTo>
                  <a:pt x="57" y="30"/>
                  <a:pt x="53" y="38"/>
                  <a:pt x="51" y="42"/>
                </a:cubicBezTo>
                <a:cubicBezTo>
                  <a:pt x="49" y="47"/>
                  <a:pt x="44" y="46"/>
                  <a:pt x="39" y="46"/>
                </a:cubicBezTo>
                <a:cubicBezTo>
                  <a:pt x="35" y="45"/>
                  <a:pt x="18" y="42"/>
                  <a:pt x="13" y="43"/>
                </a:cubicBezTo>
                <a:cubicBezTo>
                  <a:pt x="7" y="42"/>
                  <a:pt x="7" y="42"/>
                  <a:pt x="7" y="42"/>
                </a:cubicBezTo>
                <a:cubicBezTo>
                  <a:pt x="6" y="40"/>
                  <a:pt x="4" y="38"/>
                  <a:pt x="3" y="37"/>
                </a:cubicBezTo>
                <a:close/>
              </a:path>
            </a:pathLst>
          </a:custGeom>
          <a:solidFill>
            <a:schemeClr val="accent5">
              <a:lumMod val="90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66" name="Titel 1"/>
          <p:cNvSpPr txBox="1">
            <a:spLocks/>
          </p:cNvSpPr>
          <p:nvPr/>
        </p:nvSpPr>
        <p:spPr bwMode="auto">
          <a:xfrm>
            <a:off x="2147387" y="2200525"/>
            <a:ext cx="824177" cy="383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1100" b="0" i="1" kern="0" dirty="0" smtClean="0">
                <a:solidFill>
                  <a:srgbClr val="0070C0"/>
                </a:solidFill>
              </a:rPr>
              <a:t>North Sea</a:t>
            </a:r>
            <a:endParaRPr lang="en-GB" sz="1100" b="0" i="1" kern="0" dirty="0" smtClean="0">
              <a:solidFill>
                <a:srgbClr val="0070C0"/>
              </a:solidFill>
            </a:endParaRPr>
          </a:p>
        </p:txBody>
      </p:sp>
      <p:sp>
        <p:nvSpPr>
          <p:cNvPr id="167" name="Titel 1"/>
          <p:cNvSpPr txBox="1">
            <a:spLocks/>
          </p:cNvSpPr>
          <p:nvPr/>
        </p:nvSpPr>
        <p:spPr bwMode="auto">
          <a:xfrm>
            <a:off x="2030384" y="5280544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Sardin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68" name="Titel 1"/>
          <p:cNvSpPr txBox="1">
            <a:spLocks/>
          </p:cNvSpPr>
          <p:nvPr/>
        </p:nvSpPr>
        <p:spPr bwMode="auto">
          <a:xfrm>
            <a:off x="2186606" y="4952086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Corsic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69" name="Titel 1"/>
          <p:cNvSpPr txBox="1">
            <a:spLocks/>
          </p:cNvSpPr>
          <p:nvPr/>
        </p:nvSpPr>
        <p:spPr bwMode="auto">
          <a:xfrm>
            <a:off x="2963409" y="4807566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Italy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70" name="Titel 1"/>
          <p:cNvSpPr txBox="1">
            <a:spLocks/>
          </p:cNvSpPr>
          <p:nvPr/>
        </p:nvSpPr>
        <p:spPr bwMode="auto">
          <a:xfrm>
            <a:off x="3356010" y="5044449"/>
            <a:ext cx="375939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chemeClr val="bg1"/>
                </a:solidFill>
              </a:rPr>
              <a:t>Rome</a:t>
            </a:r>
            <a:endParaRPr lang="en-GB" sz="500" b="0" kern="0" dirty="0" smtClean="0">
              <a:solidFill>
                <a:schemeClr val="bg1"/>
              </a:solidFill>
            </a:endParaRPr>
          </a:p>
        </p:txBody>
      </p:sp>
      <p:sp>
        <p:nvSpPr>
          <p:cNvPr id="171" name="Titel 1"/>
          <p:cNvSpPr txBox="1">
            <a:spLocks/>
          </p:cNvSpPr>
          <p:nvPr/>
        </p:nvSpPr>
        <p:spPr bwMode="auto">
          <a:xfrm>
            <a:off x="3523494" y="3633195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chemeClr val="bg1"/>
                </a:solidFill>
              </a:rPr>
              <a:t>Czech Republic</a:t>
            </a:r>
            <a:endParaRPr lang="en-GB" sz="500" b="0" kern="0" dirty="0">
              <a:solidFill>
                <a:schemeClr val="bg1"/>
              </a:solidFill>
            </a:endParaRPr>
          </a:p>
        </p:txBody>
      </p:sp>
      <p:sp>
        <p:nvSpPr>
          <p:cNvPr id="172" name="Titel 1"/>
          <p:cNvSpPr txBox="1">
            <a:spLocks/>
          </p:cNvSpPr>
          <p:nvPr/>
        </p:nvSpPr>
        <p:spPr bwMode="auto">
          <a:xfrm>
            <a:off x="3437631" y="3506704"/>
            <a:ext cx="375939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chemeClr val="bg1"/>
                </a:solidFill>
              </a:rPr>
              <a:t>Prague</a:t>
            </a:r>
            <a:endParaRPr lang="en-GB" sz="500" b="0" kern="0" dirty="0" smtClean="0">
              <a:solidFill>
                <a:schemeClr val="bg1"/>
              </a:solidFill>
            </a:endParaRPr>
          </a:p>
        </p:txBody>
      </p:sp>
      <p:sp>
        <p:nvSpPr>
          <p:cNvPr id="173" name="Ellipse 172"/>
          <p:cNvSpPr/>
          <p:nvPr/>
        </p:nvSpPr>
        <p:spPr bwMode="auto">
          <a:xfrm>
            <a:off x="3650327" y="3529178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4" name="Titel 1"/>
          <p:cNvSpPr txBox="1">
            <a:spLocks/>
          </p:cNvSpPr>
          <p:nvPr/>
        </p:nvSpPr>
        <p:spPr bwMode="auto">
          <a:xfrm>
            <a:off x="3323643" y="3035981"/>
            <a:ext cx="375939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FFFFFF"/>
                </a:solidFill>
              </a:rPr>
              <a:t>Berlin</a:t>
            </a:r>
          </a:p>
        </p:txBody>
      </p:sp>
      <p:sp>
        <p:nvSpPr>
          <p:cNvPr id="175" name="Ellipse 174"/>
          <p:cNvSpPr/>
          <p:nvPr/>
        </p:nvSpPr>
        <p:spPr bwMode="auto">
          <a:xfrm>
            <a:off x="3536339" y="3058455"/>
            <a:ext cx="47846" cy="4963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6" name="Titel 1"/>
          <p:cNvSpPr txBox="1">
            <a:spLocks/>
          </p:cNvSpPr>
          <p:nvPr/>
        </p:nvSpPr>
        <p:spPr bwMode="auto">
          <a:xfrm>
            <a:off x="2837460" y="3346117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FFFFFF"/>
                </a:solidFill>
              </a:rPr>
              <a:t>Germany</a:t>
            </a:r>
            <a:endParaRPr lang="en-GB" sz="500" b="0" kern="0" dirty="0">
              <a:solidFill>
                <a:srgbClr val="FFFFFF"/>
              </a:solidFill>
            </a:endParaRPr>
          </a:p>
        </p:txBody>
      </p:sp>
      <p:sp>
        <p:nvSpPr>
          <p:cNvPr id="177" name="Titel 1"/>
          <p:cNvSpPr txBox="1">
            <a:spLocks/>
          </p:cNvSpPr>
          <p:nvPr/>
        </p:nvSpPr>
        <p:spPr bwMode="auto">
          <a:xfrm>
            <a:off x="2242194" y="3477761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Luxembourg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78" name="Titel 1"/>
          <p:cNvSpPr txBox="1">
            <a:spLocks/>
          </p:cNvSpPr>
          <p:nvPr/>
        </p:nvSpPr>
        <p:spPr bwMode="auto">
          <a:xfrm>
            <a:off x="2377972" y="3275278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Brussels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179" name="Ellipse 178"/>
          <p:cNvSpPr/>
          <p:nvPr/>
        </p:nvSpPr>
        <p:spPr bwMode="auto">
          <a:xfrm>
            <a:off x="2318367" y="3290650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0" name="Titel 1"/>
          <p:cNvSpPr txBox="1">
            <a:spLocks/>
          </p:cNvSpPr>
          <p:nvPr/>
        </p:nvSpPr>
        <p:spPr bwMode="auto">
          <a:xfrm>
            <a:off x="2031110" y="3197015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Belgium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81" name="Titel 1"/>
          <p:cNvSpPr txBox="1">
            <a:spLocks/>
          </p:cNvSpPr>
          <p:nvPr/>
        </p:nvSpPr>
        <p:spPr bwMode="auto">
          <a:xfrm>
            <a:off x="2483517" y="2947325"/>
            <a:ext cx="455448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chemeClr val="tx1"/>
                </a:solidFill>
              </a:rPr>
              <a:t>Amsterdam</a:t>
            </a:r>
          </a:p>
        </p:txBody>
      </p:sp>
      <p:sp>
        <p:nvSpPr>
          <p:cNvPr id="182" name="Ellipse 181"/>
          <p:cNvSpPr/>
          <p:nvPr/>
        </p:nvSpPr>
        <p:spPr bwMode="auto">
          <a:xfrm>
            <a:off x="2423910" y="2963466"/>
            <a:ext cx="47846" cy="4963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3" name="Titel 1"/>
          <p:cNvSpPr txBox="1">
            <a:spLocks/>
          </p:cNvSpPr>
          <p:nvPr/>
        </p:nvSpPr>
        <p:spPr bwMode="auto">
          <a:xfrm>
            <a:off x="2231643" y="3050595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chemeClr val="bg1">
                    <a:lumMod val="50000"/>
                  </a:schemeClr>
                </a:solidFill>
              </a:rPr>
              <a:t>Netherlands</a:t>
            </a:r>
            <a:endParaRPr lang="en-GB" sz="500" b="0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4" name="Titel 1"/>
          <p:cNvSpPr txBox="1">
            <a:spLocks/>
          </p:cNvSpPr>
          <p:nvPr/>
        </p:nvSpPr>
        <p:spPr bwMode="auto">
          <a:xfrm>
            <a:off x="3019678" y="2485110"/>
            <a:ext cx="49696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Copenhagen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185" name="Ellipse 184"/>
          <p:cNvSpPr/>
          <p:nvPr/>
        </p:nvSpPr>
        <p:spPr bwMode="auto">
          <a:xfrm>
            <a:off x="3474420" y="2509629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6" name="Titel 1"/>
          <p:cNvSpPr txBox="1">
            <a:spLocks/>
          </p:cNvSpPr>
          <p:nvPr/>
        </p:nvSpPr>
        <p:spPr bwMode="auto">
          <a:xfrm>
            <a:off x="2902194" y="2313968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Denmark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87" name="Titel 1"/>
          <p:cNvSpPr txBox="1">
            <a:spLocks/>
          </p:cNvSpPr>
          <p:nvPr/>
        </p:nvSpPr>
        <p:spPr bwMode="auto">
          <a:xfrm>
            <a:off x="3527011" y="2184501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Sweden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88" name="Titel 1"/>
          <p:cNvSpPr txBox="1">
            <a:spLocks/>
          </p:cNvSpPr>
          <p:nvPr/>
        </p:nvSpPr>
        <p:spPr bwMode="auto">
          <a:xfrm>
            <a:off x="4466407" y="3036751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Warsaw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189" name="Ellipse 188"/>
          <p:cNvSpPr/>
          <p:nvPr/>
        </p:nvSpPr>
        <p:spPr bwMode="auto">
          <a:xfrm>
            <a:off x="4577781" y="3126003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0" name="Titel 1"/>
          <p:cNvSpPr txBox="1">
            <a:spLocks/>
          </p:cNvSpPr>
          <p:nvPr/>
        </p:nvSpPr>
        <p:spPr bwMode="auto">
          <a:xfrm>
            <a:off x="4016812" y="3180832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Poland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91" name="Titel 1"/>
          <p:cNvSpPr txBox="1">
            <a:spLocks/>
          </p:cNvSpPr>
          <p:nvPr/>
        </p:nvSpPr>
        <p:spPr bwMode="auto">
          <a:xfrm>
            <a:off x="4168070" y="3810736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Bratislava</a:t>
            </a:r>
          </a:p>
        </p:txBody>
      </p:sp>
      <p:sp>
        <p:nvSpPr>
          <p:cNvPr id="192" name="Ellipse 191"/>
          <p:cNvSpPr/>
          <p:nvPr/>
        </p:nvSpPr>
        <p:spPr bwMode="auto">
          <a:xfrm>
            <a:off x="4090873" y="3866214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3" name="Titel 1"/>
          <p:cNvSpPr txBox="1">
            <a:spLocks/>
          </p:cNvSpPr>
          <p:nvPr/>
        </p:nvSpPr>
        <p:spPr bwMode="auto">
          <a:xfrm>
            <a:off x="4362995" y="3754988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Slovak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194" name="Titel 1"/>
          <p:cNvSpPr txBox="1">
            <a:spLocks/>
          </p:cNvSpPr>
          <p:nvPr/>
        </p:nvSpPr>
        <p:spPr bwMode="auto">
          <a:xfrm>
            <a:off x="4505809" y="3967578"/>
            <a:ext cx="375939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FFFFFF"/>
                </a:solidFill>
              </a:rPr>
              <a:t>Budapest</a:t>
            </a:r>
          </a:p>
        </p:txBody>
      </p:sp>
      <p:sp>
        <p:nvSpPr>
          <p:cNvPr id="195" name="Ellipse 194"/>
          <p:cNvSpPr/>
          <p:nvPr/>
        </p:nvSpPr>
        <p:spPr bwMode="auto">
          <a:xfrm>
            <a:off x="4428613" y="4023826"/>
            <a:ext cx="47846" cy="4963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6" name="Titel 1"/>
          <p:cNvSpPr txBox="1">
            <a:spLocks/>
          </p:cNvSpPr>
          <p:nvPr/>
        </p:nvSpPr>
        <p:spPr bwMode="auto">
          <a:xfrm>
            <a:off x="4106876" y="4128546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FFFFFF"/>
                </a:solidFill>
              </a:rPr>
              <a:t>Hungary</a:t>
            </a:r>
            <a:endParaRPr lang="en-GB" sz="500" b="0" kern="0" dirty="0">
              <a:solidFill>
                <a:srgbClr val="FFFFFF"/>
              </a:solidFill>
            </a:endParaRPr>
          </a:p>
        </p:txBody>
      </p:sp>
      <p:sp>
        <p:nvSpPr>
          <p:cNvPr id="197" name="Titel 1"/>
          <p:cNvSpPr txBox="1">
            <a:spLocks/>
          </p:cNvSpPr>
          <p:nvPr/>
        </p:nvSpPr>
        <p:spPr bwMode="auto">
          <a:xfrm>
            <a:off x="4071694" y="4769353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Sarajevo</a:t>
            </a:r>
          </a:p>
        </p:txBody>
      </p:sp>
      <p:sp>
        <p:nvSpPr>
          <p:cNvPr id="198" name="Ellipse 197"/>
          <p:cNvSpPr/>
          <p:nvPr/>
        </p:nvSpPr>
        <p:spPr bwMode="auto">
          <a:xfrm>
            <a:off x="4235740" y="4712955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9" name="Titel 1"/>
          <p:cNvSpPr txBox="1">
            <a:spLocks/>
          </p:cNvSpPr>
          <p:nvPr/>
        </p:nvSpPr>
        <p:spPr bwMode="auto">
          <a:xfrm>
            <a:off x="3290673" y="4299874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Sloven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00" name="Titel 1"/>
          <p:cNvSpPr txBox="1">
            <a:spLocks/>
          </p:cNvSpPr>
          <p:nvPr/>
        </p:nvSpPr>
        <p:spPr bwMode="auto">
          <a:xfrm>
            <a:off x="3472890" y="4212082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Maribor</a:t>
            </a:r>
          </a:p>
        </p:txBody>
      </p:sp>
      <p:sp>
        <p:nvSpPr>
          <p:cNvPr id="201" name="Ellipse 200"/>
          <p:cNvSpPr/>
          <p:nvPr/>
        </p:nvSpPr>
        <p:spPr bwMode="auto">
          <a:xfrm>
            <a:off x="3758763" y="4211271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2" name="Titel 1"/>
          <p:cNvSpPr txBox="1">
            <a:spLocks/>
          </p:cNvSpPr>
          <p:nvPr/>
        </p:nvSpPr>
        <p:spPr bwMode="auto">
          <a:xfrm>
            <a:off x="3859200" y="4392752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Croat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03" name="Titel 1"/>
          <p:cNvSpPr txBox="1">
            <a:spLocks/>
          </p:cNvSpPr>
          <p:nvPr/>
        </p:nvSpPr>
        <p:spPr bwMode="auto">
          <a:xfrm>
            <a:off x="3650203" y="4434428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Zagreb</a:t>
            </a:r>
          </a:p>
        </p:txBody>
      </p:sp>
      <p:sp>
        <p:nvSpPr>
          <p:cNvPr id="204" name="Ellipse 203"/>
          <p:cNvSpPr/>
          <p:nvPr/>
        </p:nvSpPr>
        <p:spPr bwMode="auto">
          <a:xfrm>
            <a:off x="3840383" y="4366068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5" name="Titel 1"/>
          <p:cNvSpPr txBox="1">
            <a:spLocks/>
          </p:cNvSpPr>
          <p:nvPr/>
        </p:nvSpPr>
        <p:spPr bwMode="auto">
          <a:xfrm>
            <a:off x="3840203" y="4540103"/>
            <a:ext cx="558881" cy="15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Bosnia and Herzegovin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06" name="Titel 1"/>
          <p:cNvSpPr txBox="1">
            <a:spLocks/>
          </p:cNvSpPr>
          <p:nvPr/>
        </p:nvSpPr>
        <p:spPr bwMode="auto">
          <a:xfrm>
            <a:off x="4758533" y="5095131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Skopje</a:t>
            </a:r>
          </a:p>
        </p:txBody>
      </p:sp>
      <p:sp>
        <p:nvSpPr>
          <p:cNvPr id="207" name="Ellipse 206"/>
          <p:cNvSpPr/>
          <p:nvPr/>
        </p:nvSpPr>
        <p:spPr bwMode="auto">
          <a:xfrm>
            <a:off x="4719232" y="5066878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8" name="Titel 1"/>
          <p:cNvSpPr txBox="1">
            <a:spLocks/>
          </p:cNvSpPr>
          <p:nvPr/>
        </p:nvSpPr>
        <p:spPr bwMode="auto">
          <a:xfrm>
            <a:off x="4510154" y="5154777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Macedon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09" name="Titel 1"/>
          <p:cNvSpPr txBox="1">
            <a:spLocks/>
          </p:cNvSpPr>
          <p:nvPr/>
        </p:nvSpPr>
        <p:spPr bwMode="auto">
          <a:xfrm>
            <a:off x="4555890" y="4670143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Belgrade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210" name="Ellipse 209"/>
          <p:cNvSpPr/>
          <p:nvPr/>
        </p:nvSpPr>
        <p:spPr bwMode="auto">
          <a:xfrm>
            <a:off x="4516589" y="4641889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1" name="Titel 1"/>
          <p:cNvSpPr txBox="1">
            <a:spLocks/>
          </p:cNvSpPr>
          <p:nvPr/>
        </p:nvSpPr>
        <p:spPr bwMode="auto">
          <a:xfrm>
            <a:off x="4259664" y="4508146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Serb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12" name="Titel 1"/>
          <p:cNvSpPr txBox="1">
            <a:spLocks/>
          </p:cNvSpPr>
          <p:nvPr/>
        </p:nvSpPr>
        <p:spPr bwMode="auto">
          <a:xfrm>
            <a:off x="5119607" y="4903541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Sofia</a:t>
            </a:r>
          </a:p>
        </p:txBody>
      </p:sp>
      <p:sp>
        <p:nvSpPr>
          <p:cNvPr id="213" name="Ellipse 212"/>
          <p:cNvSpPr/>
          <p:nvPr/>
        </p:nvSpPr>
        <p:spPr bwMode="auto">
          <a:xfrm>
            <a:off x="5080306" y="4875288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4" name="Titel 1"/>
          <p:cNvSpPr txBox="1">
            <a:spLocks/>
          </p:cNvSpPr>
          <p:nvPr/>
        </p:nvSpPr>
        <p:spPr bwMode="auto">
          <a:xfrm>
            <a:off x="5187321" y="4795225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Bulgar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15" name="Titel 1"/>
          <p:cNvSpPr txBox="1">
            <a:spLocks/>
          </p:cNvSpPr>
          <p:nvPr/>
        </p:nvSpPr>
        <p:spPr bwMode="auto">
          <a:xfrm>
            <a:off x="5355922" y="4423337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Bucharest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216" name="Ellipse 215"/>
          <p:cNvSpPr/>
          <p:nvPr/>
        </p:nvSpPr>
        <p:spPr bwMode="auto">
          <a:xfrm>
            <a:off x="5530523" y="4524550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7" name="Titel 1"/>
          <p:cNvSpPr txBox="1">
            <a:spLocks/>
          </p:cNvSpPr>
          <p:nvPr/>
        </p:nvSpPr>
        <p:spPr bwMode="auto">
          <a:xfrm>
            <a:off x="4990307" y="4260471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Roman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18" name="Titel 1"/>
          <p:cNvSpPr txBox="1">
            <a:spLocks/>
          </p:cNvSpPr>
          <p:nvPr/>
        </p:nvSpPr>
        <p:spPr bwMode="auto">
          <a:xfrm>
            <a:off x="5907563" y="3353829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Kiev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219" name="Ellipse 218"/>
          <p:cNvSpPr/>
          <p:nvPr/>
        </p:nvSpPr>
        <p:spPr bwMode="auto">
          <a:xfrm>
            <a:off x="5969584" y="3455043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0" name="Titel 1"/>
          <p:cNvSpPr txBox="1">
            <a:spLocks/>
          </p:cNvSpPr>
          <p:nvPr/>
        </p:nvSpPr>
        <p:spPr bwMode="auto">
          <a:xfrm>
            <a:off x="5311159" y="3461155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Ukraine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21" name="Titel 1"/>
          <p:cNvSpPr txBox="1">
            <a:spLocks/>
          </p:cNvSpPr>
          <p:nvPr/>
        </p:nvSpPr>
        <p:spPr bwMode="auto">
          <a:xfrm>
            <a:off x="5402144" y="2683980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Minsk</a:t>
            </a:r>
          </a:p>
        </p:txBody>
      </p:sp>
      <p:sp>
        <p:nvSpPr>
          <p:cNvPr id="222" name="Ellipse 221"/>
          <p:cNvSpPr/>
          <p:nvPr/>
        </p:nvSpPr>
        <p:spPr bwMode="auto">
          <a:xfrm>
            <a:off x="5464165" y="2785194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3" name="Titel 1"/>
          <p:cNvSpPr txBox="1">
            <a:spLocks/>
          </p:cNvSpPr>
          <p:nvPr/>
        </p:nvSpPr>
        <p:spPr bwMode="auto">
          <a:xfrm>
            <a:off x="5266127" y="2937659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Belarus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24" name="Titel 1"/>
          <p:cNvSpPr txBox="1">
            <a:spLocks/>
          </p:cNvSpPr>
          <p:nvPr/>
        </p:nvSpPr>
        <p:spPr bwMode="auto">
          <a:xfrm>
            <a:off x="5034853" y="2578437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Vilnius</a:t>
            </a:r>
          </a:p>
        </p:txBody>
      </p:sp>
      <p:sp>
        <p:nvSpPr>
          <p:cNvPr id="225" name="Ellipse 224"/>
          <p:cNvSpPr/>
          <p:nvPr/>
        </p:nvSpPr>
        <p:spPr bwMode="auto">
          <a:xfrm>
            <a:off x="5096873" y="2679651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6" name="Titel 1"/>
          <p:cNvSpPr txBox="1">
            <a:spLocks/>
          </p:cNvSpPr>
          <p:nvPr/>
        </p:nvSpPr>
        <p:spPr bwMode="auto">
          <a:xfrm>
            <a:off x="4611757" y="2494376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Lithuan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27" name="Titel 1"/>
          <p:cNvSpPr txBox="1">
            <a:spLocks/>
          </p:cNvSpPr>
          <p:nvPr/>
        </p:nvSpPr>
        <p:spPr bwMode="auto">
          <a:xfrm>
            <a:off x="5085514" y="2167111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Riga</a:t>
            </a:r>
          </a:p>
        </p:txBody>
      </p:sp>
      <p:sp>
        <p:nvSpPr>
          <p:cNvPr id="228" name="Ellipse 227"/>
          <p:cNvSpPr/>
          <p:nvPr/>
        </p:nvSpPr>
        <p:spPr bwMode="auto">
          <a:xfrm>
            <a:off x="5025103" y="2163890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9" name="Titel 1"/>
          <p:cNvSpPr txBox="1">
            <a:spLocks/>
          </p:cNvSpPr>
          <p:nvPr/>
        </p:nvSpPr>
        <p:spPr bwMode="auto">
          <a:xfrm>
            <a:off x="5000156" y="2323316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Latv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30" name="Titel 1"/>
          <p:cNvSpPr txBox="1">
            <a:spLocks/>
          </p:cNvSpPr>
          <p:nvPr/>
        </p:nvSpPr>
        <p:spPr bwMode="auto">
          <a:xfrm>
            <a:off x="5789354" y="4003980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Chisinau</a:t>
            </a:r>
            <a:endParaRPr lang="en-GB" sz="500" b="0" kern="0" dirty="0" smtClean="0">
              <a:solidFill>
                <a:srgbClr val="000000"/>
              </a:solidFill>
            </a:endParaRPr>
          </a:p>
        </p:txBody>
      </p:sp>
      <p:sp>
        <p:nvSpPr>
          <p:cNvPr id="231" name="Ellipse 230"/>
          <p:cNvSpPr/>
          <p:nvPr/>
        </p:nvSpPr>
        <p:spPr bwMode="auto">
          <a:xfrm>
            <a:off x="5851375" y="4075639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2" name="Titel 1"/>
          <p:cNvSpPr txBox="1">
            <a:spLocks/>
          </p:cNvSpPr>
          <p:nvPr/>
        </p:nvSpPr>
        <p:spPr bwMode="auto">
          <a:xfrm>
            <a:off x="5475806" y="3921325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Moldov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33" name="Freeform 830"/>
          <p:cNvSpPr>
            <a:spLocks/>
          </p:cNvSpPr>
          <p:nvPr/>
        </p:nvSpPr>
        <p:spPr bwMode="auto">
          <a:xfrm>
            <a:off x="2351758" y="3907624"/>
            <a:ext cx="694588" cy="365495"/>
          </a:xfrm>
          <a:custGeom>
            <a:avLst/>
            <a:gdLst>
              <a:gd name="T0" fmla="*/ 117 w 118"/>
              <a:gd name="T1" fmla="*/ 36 h 73"/>
              <a:gd name="T2" fmla="*/ 118 w 118"/>
              <a:gd name="T3" fmla="*/ 40 h 73"/>
              <a:gd name="T4" fmla="*/ 109 w 118"/>
              <a:gd name="T5" fmla="*/ 53 h 73"/>
              <a:gd name="T6" fmla="*/ 99 w 118"/>
              <a:gd name="T7" fmla="*/ 57 h 73"/>
              <a:gd name="T8" fmla="*/ 87 w 118"/>
              <a:gd name="T9" fmla="*/ 49 h 73"/>
              <a:gd name="T10" fmla="*/ 80 w 118"/>
              <a:gd name="T11" fmla="*/ 70 h 73"/>
              <a:gd name="T12" fmla="*/ 73 w 118"/>
              <a:gd name="T13" fmla="*/ 73 h 73"/>
              <a:gd name="T14" fmla="*/ 69 w 118"/>
              <a:gd name="T15" fmla="*/ 59 h 73"/>
              <a:gd name="T16" fmla="*/ 67 w 118"/>
              <a:gd name="T17" fmla="*/ 48 h 73"/>
              <a:gd name="T18" fmla="*/ 60 w 118"/>
              <a:gd name="T19" fmla="*/ 46 h 73"/>
              <a:gd name="T20" fmla="*/ 47 w 118"/>
              <a:gd name="T21" fmla="*/ 61 h 73"/>
              <a:gd name="T22" fmla="*/ 37 w 118"/>
              <a:gd name="T23" fmla="*/ 62 h 73"/>
              <a:gd name="T24" fmla="*/ 28 w 118"/>
              <a:gd name="T25" fmla="*/ 60 h 73"/>
              <a:gd name="T26" fmla="*/ 28 w 118"/>
              <a:gd name="T27" fmla="*/ 60 h 73"/>
              <a:gd name="T28" fmla="*/ 27 w 118"/>
              <a:gd name="T29" fmla="*/ 58 h 73"/>
              <a:gd name="T30" fmla="*/ 20 w 118"/>
              <a:gd name="T31" fmla="*/ 42 h 73"/>
              <a:gd name="T32" fmla="*/ 4 w 118"/>
              <a:gd name="T33" fmla="*/ 44 h 73"/>
              <a:gd name="T34" fmla="*/ 6 w 118"/>
              <a:gd name="T35" fmla="*/ 32 h 73"/>
              <a:gd name="T36" fmla="*/ 4 w 118"/>
              <a:gd name="T37" fmla="*/ 32 h 73"/>
              <a:gd name="T38" fmla="*/ 6 w 118"/>
              <a:gd name="T39" fmla="*/ 30 h 73"/>
              <a:gd name="T40" fmla="*/ 30 w 118"/>
              <a:gd name="T41" fmla="*/ 5 h 73"/>
              <a:gd name="T42" fmla="*/ 46 w 118"/>
              <a:gd name="T43" fmla="*/ 0 h 73"/>
              <a:gd name="T44" fmla="*/ 55 w 118"/>
              <a:gd name="T45" fmla="*/ 2 h 73"/>
              <a:gd name="T46" fmla="*/ 79 w 118"/>
              <a:gd name="T47" fmla="*/ 3 h 73"/>
              <a:gd name="T48" fmla="*/ 97 w 118"/>
              <a:gd name="T49" fmla="*/ 13 h 73"/>
              <a:gd name="T50" fmla="*/ 98 w 118"/>
              <a:gd name="T51" fmla="*/ 16 h 73"/>
              <a:gd name="T52" fmla="*/ 95 w 118"/>
              <a:gd name="T53" fmla="*/ 26 h 73"/>
              <a:gd name="T54" fmla="*/ 103 w 118"/>
              <a:gd name="T55" fmla="*/ 36 h 73"/>
              <a:gd name="T56" fmla="*/ 117 w 118"/>
              <a:gd name="T57" fmla="*/ 36 h 73"/>
              <a:gd name="connsiteX0" fmla="*/ 9761 w 9846"/>
              <a:gd name="connsiteY0" fmla="*/ 4932 h 10000"/>
              <a:gd name="connsiteX1" fmla="*/ 9846 w 9846"/>
              <a:gd name="connsiteY1" fmla="*/ 5479 h 10000"/>
              <a:gd name="connsiteX2" fmla="*/ 9083 w 9846"/>
              <a:gd name="connsiteY2" fmla="*/ 7260 h 10000"/>
              <a:gd name="connsiteX3" fmla="*/ 8236 w 9846"/>
              <a:gd name="connsiteY3" fmla="*/ 7808 h 10000"/>
              <a:gd name="connsiteX4" fmla="*/ 7219 w 9846"/>
              <a:gd name="connsiteY4" fmla="*/ 6712 h 10000"/>
              <a:gd name="connsiteX5" fmla="*/ 6626 w 9846"/>
              <a:gd name="connsiteY5" fmla="*/ 9589 h 10000"/>
              <a:gd name="connsiteX6" fmla="*/ 6032 w 9846"/>
              <a:gd name="connsiteY6" fmla="*/ 10000 h 10000"/>
              <a:gd name="connsiteX7" fmla="*/ 5693 w 9846"/>
              <a:gd name="connsiteY7" fmla="*/ 8082 h 10000"/>
              <a:gd name="connsiteX8" fmla="*/ 5524 w 9846"/>
              <a:gd name="connsiteY8" fmla="*/ 6575 h 10000"/>
              <a:gd name="connsiteX9" fmla="*/ 4931 w 9846"/>
              <a:gd name="connsiteY9" fmla="*/ 6301 h 10000"/>
              <a:gd name="connsiteX10" fmla="*/ 3829 w 9846"/>
              <a:gd name="connsiteY10" fmla="*/ 8356 h 10000"/>
              <a:gd name="connsiteX11" fmla="*/ 2982 w 9846"/>
              <a:gd name="connsiteY11" fmla="*/ 8493 h 10000"/>
              <a:gd name="connsiteX12" fmla="*/ 2219 w 9846"/>
              <a:gd name="connsiteY12" fmla="*/ 8219 h 10000"/>
              <a:gd name="connsiteX13" fmla="*/ 2219 w 9846"/>
              <a:gd name="connsiteY13" fmla="*/ 8219 h 10000"/>
              <a:gd name="connsiteX14" fmla="*/ 2134 w 9846"/>
              <a:gd name="connsiteY14" fmla="*/ 7945 h 10000"/>
              <a:gd name="connsiteX15" fmla="*/ 1541 w 9846"/>
              <a:gd name="connsiteY15" fmla="*/ 5753 h 10000"/>
              <a:gd name="connsiteX16" fmla="*/ 185 w 9846"/>
              <a:gd name="connsiteY16" fmla="*/ 6027 h 10000"/>
              <a:gd name="connsiteX17" fmla="*/ 354 w 9846"/>
              <a:gd name="connsiteY17" fmla="*/ 4384 h 10000"/>
              <a:gd name="connsiteX18" fmla="*/ 185 w 9846"/>
              <a:gd name="connsiteY18" fmla="*/ 4384 h 10000"/>
              <a:gd name="connsiteX19" fmla="*/ 2388 w 9846"/>
              <a:gd name="connsiteY19" fmla="*/ 685 h 10000"/>
              <a:gd name="connsiteX20" fmla="*/ 3744 w 9846"/>
              <a:gd name="connsiteY20" fmla="*/ 0 h 10000"/>
              <a:gd name="connsiteX21" fmla="*/ 4507 w 9846"/>
              <a:gd name="connsiteY21" fmla="*/ 274 h 10000"/>
              <a:gd name="connsiteX22" fmla="*/ 6541 w 9846"/>
              <a:gd name="connsiteY22" fmla="*/ 411 h 10000"/>
              <a:gd name="connsiteX23" fmla="*/ 8066 w 9846"/>
              <a:gd name="connsiteY23" fmla="*/ 1781 h 10000"/>
              <a:gd name="connsiteX24" fmla="*/ 8151 w 9846"/>
              <a:gd name="connsiteY24" fmla="*/ 2192 h 10000"/>
              <a:gd name="connsiteX25" fmla="*/ 7897 w 9846"/>
              <a:gd name="connsiteY25" fmla="*/ 3562 h 10000"/>
              <a:gd name="connsiteX26" fmla="*/ 8575 w 9846"/>
              <a:gd name="connsiteY26" fmla="*/ 4932 h 10000"/>
              <a:gd name="connsiteX27" fmla="*/ 9761 w 9846"/>
              <a:gd name="connsiteY27" fmla="*/ 4932 h 10000"/>
              <a:gd name="connsiteX0" fmla="*/ 9914 w 10000"/>
              <a:gd name="connsiteY0" fmla="*/ 4932 h 10000"/>
              <a:gd name="connsiteX1" fmla="*/ 10000 w 10000"/>
              <a:gd name="connsiteY1" fmla="*/ 5479 h 10000"/>
              <a:gd name="connsiteX2" fmla="*/ 9225 w 10000"/>
              <a:gd name="connsiteY2" fmla="*/ 7260 h 10000"/>
              <a:gd name="connsiteX3" fmla="*/ 8365 w 10000"/>
              <a:gd name="connsiteY3" fmla="*/ 7808 h 10000"/>
              <a:gd name="connsiteX4" fmla="*/ 7332 w 10000"/>
              <a:gd name="connsiteY4" fmla="*/ 6712 h 10000"/>
              <a:gd name="connsiteX5" fmla="*/ 6730 w 10000"/>
              <a:gd name="connsiteY5" fmla="*/ 9589 h 10000"/>
              <a:gd name="connsiteX6" fmla="*/ 6126 w 10000"/>
              <a:gd name="connsiteY6" fmla="*/ 10000 h 10000"/>
              <a:gd name="connsiteX7" fmla="*/ 5782 w 10000"/>
              <a:gd name="connsiteY7" fmla="*/ 8082 h 10000"/>
              <a:gd name="connsiteX8" fmla="*/ 5610 w 10000"/>
              <a:gd name="connsiteY8" fmla="*/ 6575 h 10000"/>
              <a:gd name="connsiteX9" fmla="*/ 5008 w 10000"/>
              <a:gd name="connsiteY9" fmla="*/ 6301 h 10000"/>
              <a:gd name="connsiteX10" fmla="*/ 3889 w 10000"/>
              <a:gd name="connsiteY10" fmla="*/ 8356 h 10000"/>
              <a:gd name="connsiteX11" fmla="*/ 3029 w 10000"/>
              <a:gd name="connsiteY11" fmla="*/ 8493 h 10000"/>
              <a:gd name="connsiteX12" fmla="*/ 2254 w 10000"/>
              <a:gd name="connsiteY12" fmla="*/ 8219 h 10000"/>
              <a:gd name="connsiteX13" fmla="*/ 2254 w 10000"/>
              <a:gd name="connsiteY13" fmla="*/ 8219 h 10000"/>
              <a:gd name="connsiteX14" fmla="*/ 2167 w 10000"/>
              <a:gd name="connsiteY14" fmla="*/ 7945 h 10000"/>
              <a:gd name="connsiteX15" fmla="*/ 1565 w 10000"/>
              <a:gd name="connsiteY15" fmla="*/ 5753 h 10000"/>
              <a:gd name="connsiteX16" fmla="*/ 188 w 10000"/>
              <a:gd name="connsiteY16" fmla="*/ 6027 h 10000"/>
              <a:gd name="connsiteX17" fmla="*/ 360 w 10000"/>
              <a:gd name="connsiteY17" fmla="*/ 4384 h 10000"/>
              <a:gd name="connsiteX18" fmla="*/ 2425 w 10000"/>
              <a:gd name="connsiteY18" fmla="*/ 685 h 10000"/>
              <a:gd name="connsiteX19" fmla="*/ 3803 w 10000"/>
              <a:gd name="connsiteY19" fmla="*/ 0 h 10000"/>
              <a:gd name="connsiteX20" fmla="*/ 4577 w 10000"/>
              <a:gd name="connsiteY20" fmla="*/ 274 h 10000"/>
              <a:gd name="connsiteX21" fmla="*/ 6643 w 10000"/>
              <a:gd name="connsiteY21" fmla="*/ 411 h 10000"/>
              <a:gd name="connsiteX22" fmla="*/ 8192 w 10000"/>
              <a:gd name="connsiteY22" fmla="*/ 1781 h 10000"/>
              <a:gd name="connsiteX23" fmla="*/ 8278 w 10000"/>
              <a:gd name="connsiteY23" fmla="*/ 2192 h 10000"/>
              <a:gd name="connsiteX24" fmla="*/ 8021 w 10000"/>
              <a:gd name="connsiteY24" fmla="*/ 3562 h 10000"/>
              <a:gd name="connsiteX25" fmla="*/ 8709 w 10000"/>
              <a:gd name="connsiteY25" fmla="*/ 4932 h 10000"/>
              <a:gd name="connsiteX26" fmla="*/ 9914 w 10000"/>
              <a:gd name="connsiteY26" fmla="*/ 493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000" h="10000">
                <a:moveTo>
                  <a:pt x="9914" y="4932"/>
                </a:moveTo>
                <a:cubicBezTo>
                  <a:pt x="10000" y="5068"/>
                  <a:pt x="10000" y="5205"/>
                  <a:pt x="10000" y="5479"/>
                </a:cubicBezTo>
                <a:cubicBezTo>
                  <a:pt x="9914" y="6164"/>
                  <a:pt x="9569" y="6986"/>
                  <a:pt x="9225" y="7260"/>
                </a:cubicBezTo>
                <a:cubicBezTo>
                  <a:pt x="8881" y="7534"/>
                  <a:pt x="8536" y="7534"/>
                  <a:pt x="8365" y="7808"/>
                </a:cubicBezTo>
                <a:cubicBezTo>
                  <a:pt x="8192" y="7945"/>
                  <a:pt x="7590" y="6849"/>
                  <a:pt x="7332" y="6712"/>
                </a:cubicBezTo>
                <a:cubicBezTo>
                  <a:pt x="7159" y="6575"/>
                  <a:pt x="6730" y="9589"/>
                  <a:pt x="6730" y="9589"/>
                </a:cubicBezTo>
                <a:cubicBezTo>
                  <a:pt x="6730" y="9589"/>
                  <a:pt x="6299" y="10000"/>
                  <a:pt x="6126" y="10000"/>
                </a:cubicBezTo>
                <a:cubicBezTo>
                  <a:pt x="5955" y="10000"/>
                  <a:pt x="5782" y="8493"/>
                  <a:pt x="5782" y="8082"/>
                </a:cubicBezTo>
                <a:cubicBezTo>
                  <a:pt x="5610" y="7534"/>
                  <a:pt x="5782" y="6712"/>
                  <a:pt x="5610" y="6575"/>
                </a:cubicBezTo>
                <a:cubicBezTo>
                  <a:pt x="5352" y="6438"/>
                  <a:pt x="5266" y="6301"/>
                  <a:pt x="5008" y="6301"/>
                </a:cubicBezTo>
                <a:cubicBezTo>
                  <a:pt x="4750" y="6301"/>
                  <a:pt x="4062" y="8082"/>
                  <a:pt x="3889" y="8356"/>
                </a:cubicBezTo>
                <a:cubicBezTo>
                  <a:pt x="3717" y="8630"/>
                  <a:pt x="3373" y="8493"/>
                  <a:pt x="3029" y="8493"/>
                </a:cubicBezTo>
                <a:lnTo>
                  <a:pt x="2254" y="8219"/>
                </a:lnTo>
                <a:lnTo>
                  <a:pt x="2254" y="8219"/>
                </a:lnTo>
                <a:cubicBezTo>
                  <a:pt x="2254" y="8082"/>
                  <a:pt x="2167" y="8082"/>
                  <a:pt x="2167" y="7945"/>
                </a:cubicBezTo>
                <a:cubicBezTo>
                  <a:pt x="1909" y="7123"/>
                  <a:pt x="1823" y="5890"/>
                  <a:pt x="1565" y="5753"/>
                </a:cubicBezTo>
                <a:cubicBezTo>
                  <a:pt x="1392" y="5479"/>
                  <a:pt x="532" y="6712"/>
                  <a:pt x="188" y="6027"/>
                </a:cubicBezTo>
                <a:cubicBezTo>
                  <a:pt x="-156" y="5479"/>
                  <a:pt x="15" y="4932"/>
                  <a:pt x="360" y="4384"/>
                </a:cubicBezTo>
                <a:cubicBezTo>
                  <a:pt x="733" y="3494"/>
                  <a:pt x="1851" y="1416"/>
                  <a:pt x="2425" y="685"/>
                </a:cubicBezTo>
                <a:cubicBezTo>
                  <a:pt x="2942" y="411"/>
                  <a:pt x="3631" y="685"/>
                  <a:pt x="3803" y="0"/>
                </a:cubicBezTo>
                <a:lnTo>
                  <a:pt x="4577" y="274"/>
                </a:lnTo>
                <a:cubicBezTo>
                  <a:pt x="4577" y="274"/>
                  <a:pt x="6299" y="411"/>
                  <a:pt x="6643" y="411"/>
                </a:cubicBezTo>
                <a:cubicBezTo>
                  <a:pt x="7074" y="411"/>
                  <a:pt x="7848" y="1233"/>
                  <a:pt x="8192" y="1781"/>
                </a:cubicBezTo>
                <a:cubicBezTo>
                  <a:pt x="8278" y="1918"/>
                  <a:pt x="8278" y="2055"/>
                  <a:pt x="8278" y="2192"/>
                </a:cubicBezTo>
                <a:cubicBezTo>
                  <a:pt x="8365" y="2466"/>
                  <a:pt x="8107" y="2877"/>
                  <a:pt x="8021" y="3562"/>
                </a:cubicBezTo>
                <a:cubicBezTo>
                  <a:pt x="8021" y="4384"/>
                  <a:pt x="8365" y="4521"/>
                  <a:pt x="8709" y="4932"/>
                </a:cubicBezTo>
                <a:cubicBezTo>
                  <a:pt x="9140" y="5205"/>
                  <a:pt x="9742" y="4658"/>
                  <a:pt x="9914" y="493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234" name="Titel 1"/>
          <p:cNvSpPr txBox="1">
            <a:spLocks/>
          </p:cNvSpPr>
          <p:nvPr/>
        </p:nvSpPr>
        <p:spPr bwMode="auto">
          <a:xfrm>
            <a:off x="2459615" y="3952116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Switzerland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35" name="Titel 1"/>
          <p:cNvSpPr txBox="1">
            <a:spLocks/>
          </p:cNvSpPr>
          <p:nvPr/>
        </p:nvSpPr>
        <p:spPr bwMode="auto">
          <a:xfrm>
            <a:off x="2601726" y="4040869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Bern</a:t>
            </a:r>
          </a:p>
        </p:txBody>
      </p:sp>
      <p:sp>
        <p:nvSpPr>
          <p:cNvPr id="236" name="Ellipse 235"/>
          <p:cNvSpPr/>
          <p:nvPr/>
        </p:nvSpPr>
        <p:spPr bwMode="auto">
          <a:xfrm>
            <a:off x="2527344" y="4053813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7" name="Freihandform 236"/>
          <p:cNvSpPr/>
          <p:nvPr/>
        </p:nvSpPr>
        <p:spPr bwMode="auto">
          <a:xfrm>
            <a:off x="5524778" y="5154991"/>
            <a:ext cx="736694" cy="329296"/>
          </a:xfrm>
          <a:custGeom>
            <a:avLst/>
            <a:gdLst>
              <a:gd name="connsiteX0" fmla="*/ 833438 w 833438"/>
              <a:gd name="connsiteY0" fmla="*/ 0 h 392906"/>
              <a:gd name="connsiteX1" fmla="*/ 711994 w 833438"/>
              <a:gd name="connsiteY1" fmla="*/ 4762 h 392906"/>
              <a:gd name="connsiteX2" fmla="*/ 592932 w 833438"/>
              <a:gd name="connsiteY2" fmla="*/ 2381 h 392906"/>
              <a:gd name="connsiteX3" fmla="*/ 561975 w 833438"/>
              <a:gd name="connsiteY3" fmla="*/ 11906 h 392906"/>
              <a:gd name="connsiteX4" fmla="*/ 554832 w 833438"/>
              <a:gd name="connsiteY4" fmla="*/ 35719 h 392906"/>
              <a:gd name="connsiteX5" fmla="*/ 664369 w 833438"/>
              <a:gd name="connsiteY5" fmla="*/ 83344 h 392906"/>
              <a:gd name="connsiteX6" fmla="*/ 685800 w 833438"/>
              <a:gd name="connsiteY6" fmla="*/ 92869 h 392906"/>
              <a:gd name="connsiteX7" fmla="*/ 631032 w 833438"/>
              <a:gd name="connsiteY7" fmla="*/ 111919 h 392906"/>
              <a:gd name="connsiteX8" fmla="*/ 538163 w 833438"/>
              <a:gd name="connsiteY8" fmla="*/ 128587 h 392906"/>
              <a:gd name="connsiteX9" fmla="*/ 538163 w 833438"/>
              <a:gd name="connsiteY9" fmla="*/ 128587 h 392906"/>
              <a:gd name="connsiteX10" fmla="*/ 535782 w 833438"/>
              <a:gd name="connsiteY10" fmla="*/ 152400 h 392906"/>
              <a:gd name="connsiteX11" fmla="*/ 552450 w 833438"/>
              <a:gd name="connsiteY11" fmla="*/ 164306 h 392906"/>
              <a:gd name="connsiteX12" fmla="*/ 554832 w 833438"/>
              <a:gd name="connsiteY12" fmla="*/ 171450 h 392906"/>
              <a:gd name="connsiteX13" fmla="*/ 547688 w 833438"/>
              <a:gd name="connsiteY13" fmla="*/ 176212 h 392906"/>
              <a:gd name="connsiteX14" fmla="*/ 490538 w 833438"/>
              <a:gd name="connsiteY14" fmla="*/ 173831 h 392906"/>
              <a:gd name="connsiteX15" fmla="*/ 481013 w 833438"/>
              <a:gd name="connsiteY15" fmla="*/ 171450 h 392906"/>
              <a:gd name="connsiteX16" fmla="*/ 471488 w 833438"/>
              <a:gd name="connsiteY16" fmla="*/ 173831 h 392906"/>
              <a:gd name="connsiteX17" fmla="*/ 452438 w 833438"/>
              <a:gd name="connsiteY17" fmla="*/ 173831 h 392906"/>
              <a:gd name="connsiteX18" fmla="*/ 371475 w 833438"/>
              <a:gd name="connsiteY18" fmla="*/ 178594 h 392906"/>
              <a:gd name="connsiteX19" fmla="*/ 257175 w 833438"/>
              <a:gd name="connsiteY19" fmla="*/ 207169 h 392906"/>
              <a:gd name="connsiteX20" fmla="*/ 195263 w 833438"/>
              <a:gd name="connsiteY20" fmla="*/ 202406 h 392906"/>
              <a:gd name="connsiteX21" fmla="*/ 97632 w 833438"/>
              <a:gd name="connsiteY21" fmla="*/ 235744 h 392906"/>
              <a:gd name="connsiteX22" fmla="*/ 33338 w 833438"/>
              <a:gd name="connsiteY22" fmla="*/ 288131 h 392906"/>
              <a:gd name="connsiteX23" fmla="*/ 0 w 833438"/>
              <a:gd name="connsiteY23" fmla="*/ 392906 h 392906"/>
              <a:gd name="connsiteX24" fmla="*/ 831057 w 833438"/>
              <a:gd name="connsiteY24" fmla="*/ 392906 h 392906"/>
              <a:gd name="connsiteX0" fmla="*/ 831057 w 831057"/>
              <a:gd name="connsiteY0" fmla="*/ 0 h 392906"/>
              <a:gd name="connsiteX1" fmla="*/ 709613 w 831057"/>
              <a:gd name="connsiteY1" fmla="*/ 4762 h 392906"/>
              <a:gd name="connsiteX2" fmla="*/ 590551 w 831057"/>
              <a:gd name="connsiteY2" fmla="*/ 2381 h 392906"/>
              <a:gd name="connsiteX3" fmla="*/ 559594 w 831057"/>
              <a:gd name="connsiteY3" fmla="*/ 11906 h 392906"/>
              <a:gd name="connsiteX4" fmla="*/ 552451 w 831057"/>
              <a:gd name="connsiteY4" fmla="*/ 35719 h 392906"/>
              <a:gd name="connsiteX5" fmla="*/ 661988 w 831057"/>
              <a:gd name="connsiteY5" fmla="*/ 83344 h 392906"/>
              <a:gd name="connsiteX6" fmla="*/ 683419 w 831057"/>
              <a:gd name="connsiteY6" fmla="*/ 92869 h 392906"/>
              <a:gd name="connsiteX7" fmla="*/ 628651 w 831057"/>
              <a:gd name="connsiteY7" fmla="*/ 111919 h 392906"/>
              <a:gd name="connsiteX8" fmla="*/ 535782 w 831057"/>
              <a:gd name="connsiteY8" fmla="*/ 128587 h 392906"/>
              <a:gd name="connsiteX9" fmla="*/ 535782 w 831057"/>
              <a:gd name="connsiteY9" fmla="*/ 128587 h 392906"/>
              <a:gd name="connsiteX10" fmla="*/ 533401 w 831057"/>
              <a:gd name="connsiteY10" fmla="*/ 152400 h 392906"/>
              <a:gd name="connsiteX11" fmla="*/ 550069 w 831057"/>
              <a:gd name="connsiteY11" fmla="*/ 164306 h 392906"/>
              <a:gd name="connsiteX12" fmla="*/ 552451 w 831057"/>
              <a:gd name="connsiteY12" fmla="*/ 171450 h 392906"/>
              <a:gd name="connsiteX13" fmla="*/ 545307 w 831057"/>
              <a:gd name="connsiteY13" fmla="*/ 176212 h 392906"/>
              <a:gd name="connsiteX14" fmla="*/ 488157 w 831057"/>
              <a:gd name="connsiteY14" fmla="*/ 173831 h 392906"/>
              <a:gd name="connsiteX15" fmla="*/ 478632 w 831057"/>
              <a:gd name="connsiteY15" fmla="*/ 171450 h 392906"/>
              <a:gd name="connsiteX16" fmla="*/ 469107 w 831057"/>
              <a:gd name="connsiteY16" fmla="*/ 173831 h 392906"/>
              <a:gd name="connsiteX17" fmla="*/ 450057 w 831057"/>
              <a:gd name="connsiteY17" fmla="*/ 173831 h 392906"/>
              <a:gd name="connsiteX18" fmla="*/ 369094 w 831057"/>
              <a:gd name="connsiteY18" fmla="*/ 178594 h 392906"/>
              <a:gd name="connsiteX19" fmla="*/ 254794 w 831057"/>
              <a:gd name="connsiteY19" fmla="*/ 207169 h 392906"/>
              <a:gd name="connsiteX20" fmla="*/ 192882 w 831057"/>
              <a:gd name="connsiteY20" fmla="*/ 202406 h 392906"/>
              <a:gd name="connsiteX21" fmla="*/ 95251 w 831057"/>
              <a:gd name="connsiteY21" fmla="*/ 235744 h 392906"/>
              <a:gd name="connsiteX22" fmla="*/ 30957 w 831057"/>
              <a:gd name="connsiteY22" fmla="*/ 288131 h 392906"/>
              <a:gd name="connsiteX23" fmla="*/ 0 w 831057"/>
              <a:gd name="connsiteY23" fmla="*/ 371475 h 392906"/>
              <a:gd name="connsiteX24" fmla="*/ 828676 w 831057"/>
              <a:gd name="connsiteY24" fmla="*/ 392906 h 392906"/>
              <a:gd name="connsiteX0" fmla="*/ 831057 w 831057"/>
              <a:gd name="connsiteY0" fmla="*/ 0 h 376237"/>
              <a:gd name="connsiteX1" fmla="*/ 709613 w 831057"/>
              <a:gd name="connsiteY1" fmla="*/ 4762 h 376237"/>
              <a:gd name="connsiteX2" fmla="*/ 590551 w 831057"/>
              <a:gd name="connsiteY2" fmla="*/ 2381 h 376237"/>
              <a:gd name="connsiteX3" fmla="*/ 559594 w 831057"/>
              <a:gd name="connsiteY3" fmla="*/ 11906 h 376237"/>
              <a:gd name="connsiteX4" fmla="*/ 552451 w 831057"/>
              <a:gd name="connsiteY4" fmla="*/ 35719 h 376237"/>
              <a:gd name="connsiteX5" fmla="*/ 661988 w 831057"/>
              <a:gd name="connsiteY5" fmla="*/ 83344 h 376237"/>
              <a:gd name="connsiteX6" fmla="*/ 683419 w 831057"/>
              <a:gd name="connsiteY6" fmla="*/ 92869 h 376237"/>
              <a:gd name="connsiteX7" fmla="*/ 628651 w 831057"/>
              <a:gd name="connsiteY7" fmla="*/ 111919 h 376237"/>
              <a:gd name="connsiteX8" fmla="*/ 535782 w 831057"/>
              <a:gd name="connsiteY8" fmla="*/ 128587 h 376237"/>
              <a:gd name="connsiteX9" fmla="*/ 535782 w 831057"/>
              <a:gd name="connsiteY9" fmla="*/ 128587 h 376237"/>
              <a:gd name="connsiteX10" fmla="*/ 533401 w 831057"/>
              <a:gd name="connsiteY10" fmla="*/ 152400 h 376237"/>
              <a:gd name="connsiteX11" fmla="*/ 550069 w 831057"/>
              <a:gd name="connsiteY11" fmla="*/ 164306 h 376237"/>
              <a:gd name="connsiteX12" fmla="*/ 552451 w 831057"/>
              <a:gd name="connsiteY12" fmla="*/ 171450 h 376237"/>
              <a:gd name="connsiteX13" fmla="*/ 545307 w 831057"/>
              <a:gd name="connsiteY13" fmla="*/ 176212 h 376237"/>
              <a:gd name="connsiteX14" fmla="*/ 488157 w 831057"/>
              <a:gd name="connsiteY14" fmla="*/ 173831 h 376237"/>
              <a:gd name="connsiteX15" fmla="*/ 478632 w 831057"/>
              <a:gd name="connsiteY15" fmla="*/ 171450 h 376237"/>
              <a:gd name="connsiteX16" fmla="*/ 469107 w 831057"/>
              <a:gd name="connsiteY16" fmla="*/ 173831 h 376237"/>
              <a:gd name="connsiteX17" fmla="*/ 450057 w 831057"/>
              <a:gd name="connsiteY17" fmla="*/ 173831 h 376237"/>
              <a:gd name="connsiteX18" fmla="*/ 369094 w 831057"/>
              <a:gd name="connsiteY18" fmla="*/ 178594 h 376237"/>
              <a:gd name="connsiteX19" fmla="*/ 254794 w 831057"/>
              <a:gd name="connsiteY19" fmla="*/ 207169 h 376237"/>
              <a:gd name="connsiteX20" fmla="*/ 192882 w 831057"/>
              <a:gd name="connsiteY20" fmla="*/ 202406 h 376237"/>
              <a:gd name="connsiteX21" fmla="*/ 95251 w 831057"/>
              <a:gd name="connsiteY21" fmla="*/ 235744 h 376237"/>
              <a:gd name="connsiteX22" fmla="*/ 30957 w 831057"/>
              <a:gd name="connsiteY22" fmla="*/ 288131 h 376237"/>
              <a:gd name="connsiteX23" fmla="*/ 0 w 831057"/>
              <a:gd name="connsiteY23" fmla="*/ 371475 h 376237"/>
              <a:gd name="connsiteX24" fmla="*/ 828676 w 831057"/>
              <a:gd name="connsiteY24" fmla="*/ 376237 h 376237"/>
              <a:gd name="connsiteX0" fmla="*/ 831057 w 831057"/>
              <a:gd name="connsiteY0" fmla="*/ 0 h 371475"/>
              <a:gd name="connsiteX1" fmla="*/ 709613 w 831057"/>
              <a:gd name="connsiteY1" fmla="*/ 4762 h 371475"/>
              <a:gd name="connsiteX2" fmla="*/ 590551 w 831057"/>
              <a:gd name="connsiteY2" fmla="*/ 2381 h 371475"/>
              <a:gd name="connsiteX3" fmla="*/ 559594 w 831057"/>
              <a:gd name="connsiteY3" fmla="*/ 11906 h 371475"/>
              <a:gd name="connsiteX4" fmla="*/ 552451 w 831057"/>
              <a:gd name="connsiteY4" fmla="*/ 35719 h 371475"/>
              <a:gd name="connsiteX5" fmla="*/ 661988 w 831057"/>
              <a:gd name="connsiteY5" fmla="*/ 83344 h 371475"/>
              <a:gd name="connsiteX6" fmla="*/ 683419 w 831057"/>
              <a:gd name="connsiteY6" fmla="*/ 92869 h 371475"/>
              <a:gd name="connsiteX7" fmla="*/ 628651 w 831057"/>
              <a:gd name="connsiteY7" fmla="*/ 111919 h 371475"/>
              <a:gd name="connsiteX8" fmla="*/ 535782 w 831057"/>
              <a:gd name="connsiteY8" fmla="*/ 128587 h 371475"/>
              <a:gd name="connsiteX9" fmla="*/ 535782 w 831057"/>
              <a:gd name="connsiteY9" fmla="*/ 128587 h 371475"/>
              <a:gd name="connsiteX10" fmla="*/ 533401 w 831057"/>
              <a:gd name="connsiteY10" fmla="*/ 152400 h 371475"/>
              <a:gd name="connsiteX11" fmla="*/ 550069 w 831057"/>
              <a:gd name="connsiteY11" fmla="*/ 164306 h 371475"/>
              <a:gd name="connsiteX12" fmla="*/ 552451 w 831057"/>
              <a:gd name="connsiteY12" fmla="*/ 171450 h 371475"/>
              <a:gd name="connsiteX13" fmla="*/ 545307 w 831057"/>
              <a:gd name="connsiteY13" fmla="*/ 176212 h 371475"/>
              <a:gd name="connsiteX14" fmla="*/ 488157 w 831057"/>
              <a:gd name="connsiteY14" fmla="*/ 173831 h 371475"/>
              <a:gd name="connsiteX15" fmla="*/ 478632 w 831057"/>
              <a:gd name="connsiteY15" fmla="*/ 171450 h 371475"/>
              <a:gd name="connsiteX16" fmla="*/ 469107 w 831057"/>
              <a:gd name="connsiteY16" fmla="*/ 173831 h 371475"/>
              <a:gd name="connsiteX17" fmla="*/ 450057 w 831057"/>
              <a:gd name="connsiteY17" fmla="*/ 173831 h 371475"/>
              <a:gd name="connsiteX18" fmla="*/ 369094 w 831057"/>
              <a:gd name="connsiteY18" fmla="*/ 178594 h 371475"/>
              <a:gd name="connsiteX19" fmla="*/ 254794 w 831057"/>
              <a:gd name="connsiteY19" fmla="*/ 207169 h 371475"/>
              <a:gd name="connsiteX20" fmla="*/ 192882 w 831057"/>
              <a:gd name="connsiteY20" fmla="*/ 202406 h 371475"/>
              <a:gd name="connsiteX21" fmla="*/ 95251 w 831057"/>
              <a:gd name="connsiteY21" fmla="*/ 235744 h 371475"/>
              <a:gd name="connsiteX22" fmla="*/ 30957 w 831057"/>
              <a:gd name="connsiteY22" fmla="*/ 288131 h 371475"/>
              <a:gd name="connsiteX23" fmla="*/ 0 w 831057"/>
              <a:gd name="connsiteY23" fmla="*/ 371475 h 371475"/>
              <a:gd name="connsiteX24" fmla="*/ 828676 w 831057"/>
              <a:gd name="connsiteY24" fmla="*/ 369093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31057" h="371475">
                <a:moveTo>
                  <a:pt x="831057" y="0"/>
                </a:moveTo>
                <a:lnTo>
                  <a:pt x="709613" y="4762"/>
                </a:lnTo>
                <a:lnTo>
                  <a:pt x="590551" y="2381"/>
                </a:lnTo>
                <a:lnTo>
                  <a:pt x="559594" y="11906"/>
                </a:lnTo>
                <a:lnTo>
                  <a:pt x="552451" y="35719"/>
                </a:lnTo>
                <a:lnTo>
                  <a:pt x="661988" y="83344"/>
                </a:lnTo>
                <a:lnTo>
                  <a:pt x="683419" y="92869"/>
                </a:lnTo>
                <a:lnTo>
                  <a:pt x="628651" y="111919"/>
                </a:lnTo>
                <a:lnTo>
                  <a:pt x="535782" y="128587"/>
                </a:lnTo>
                <a:lnTo>
                  <a:pt x="535782" y="128587"/>
                </a:lnTo>
                <a:lnTo>
                  <a:pt x="533401" y="152400"/>
                </a:lnTo>
                <a:cubicBezTo>
                  <a:pt x="538957" y="156369"/>
                  <a:pt x="545241" y="159478"/>
                  <a:pt x="550069" y="164306"/>
                </a:cubicBezTo>
                <a:cubicBezTo>
                  <a:pt x="551844" y="166081"/>
                  <a:pt x="553383" y="169119"/>
                  <a:pt x="552451" y="171450"/>
                </a:cubicBezTo>
                <a:cubicBezTo>
                  <a:pt x="551388" y="174107"/>
                  <a:pt x="547688" y="174625"/>
                  <a:pt x="545307" y="176212"/>
                </a:cubicBezTo>
                <a:cubicBezTo>
                  <a:pt x="526257" y="175418"/>
                  <a:pt x="507175" y="175189"/>
                  <a:pt x="488157" y="173831"/>
                </a:cubicBezTo>
                <a:cubicBezTo>
                  <a:pt x="484893" y="173598"/>
                  <a:pt x="481905" y="171450"/>
                  <a:pt x="478632" y="171450"/>
                </a:cubicBezTo>
                <a:cubicBezTo>
                  <a:pt x="475359" y="171450"/>
                  <a:pt x="472368" y="173559"/>
                  <a:pt x="469107" y="173831"/>
                </a:cubicBezTo>
                <a:cubicBezTo>
                  <a:pt x="462779" y="174358"/>
                  <a:pt x="456407" y="173831"/>
                  <a:pt x="450057" y="173831"/>
                </a:cubicBezTo>
                <a:lnTo>
                  <a:pt x="369094" y="178594"/>
                </a:lnTo>
                <a:lnTo>
                  <a:pt x="254794" y="207169"/>
                </a:lnTo>
                <a:lnTo>
                  <a:pt x="192882" y="202406"/>
                </a:lnTo>
                <a:lnTo>
                  <a:pt x="95251" y="235744"/>
                </a:lnTo>
                <a:lnTo>
                  <a:pt x="30957" y="288131"/>
                </a:lnTo>
                <a:lnTo>
                  <a:pt x="0" y="371475"/>
                </a:lnTo>
                <a:lnTo>
                  <a:pt x="828676" y="369093"/>
                </a:lnTo>
              </a:path>
            </a:pathLst>
          </a:custGeom>
          <a:solidFill>
            <a:schemeClr val="tx2"/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38" name="Freihandform 237"/>
          <p:cNvSpPr/>
          <p:nvPr/>
        </p:nvSpPr>
        <p:spPr bwMode="auto">
          <a:xfrm>
            <a:off x="5524778" y="5154991"/>
            <a:ext cx="736694" cy="329296"/>
          </a:xfrm>
          <a:custGeom>
            <a:avLst/>
            <a:gdLst>
              <a:gd name="connsiteX0" fmla="*/ 833438 w 833438"/>
              <a:gd name="connsiteY0" fmla="*/ 0 h 392906"/>
              <a:gd name="connsiteX1" fmla="*/ 711994 w 833438"/>
              <a:gd name="connsiteY1" fmla="*/ 4762 h 392906"/>
              <a:gd name="connsiteX2" fmla="*/ 592932 w 833438"/>
              <a:gd name="connsiteY2" fmla="*/ 2381 h 392906"/>
              <a:gd name="connsiteX3" fmla="*/ 561975 w 833438"/>
              <a:gd name="connsiteY3" fmla="*/ 11906 h 392906"/>
              <a:gd name="connsiteX4" fmla="*/ 554832 w 833438"/>
              <a:gd name="connsiteY4" fmla="*/ 35719 h 392906"/>
              <a:gd name="connsiteX5" fmla="*/ 664369 w 833438"/>
              <a:gd name="connsiteY5" fmla="*/ 83344 h 392906"/>
              <a:gd name="connsiteX6" fmla="*/ 685800 w 833438"/>
              <a:gd name="connsiteY6" fmla="*/ 92869 h 392906"/>
              <a:gd name="connsiteX7" fmla="*/ 631032 w 833438"/>
              <a:gd name="connsiteY7" fmla="*/ 111919 h 392906"/>
              <a:gd name="connsiteX8" fmla="*/ 538163 w 833438"/>
              <a:gd name="connsiteY8" fmla="*/ 128587 h 392906"/>
              <a:gd name="connsiteX9" fmla="*/ 538163 w 833438"/>
              <a:gd name="connsiteY9" fmla="*/ 128587 h 392906"/>
              <a:gd name="connsiteX10" fmla="*/ 535782 w 833438"/>
              <a:gd name="connsiteY10" fmla="*/ 152400 h 392906"/>
              <a:gd name="connsiteX11" fmla="*/ 552450 w 833438"/>
              <a:gd name="connsiteY11" fmla="*/ 164306 h 392906"/>
              <a:gd name="connsiteX12" fmla="*/ 554832 w 833438"/>
              <a:gd name="connsiteY12" fmla="*/ 171450 h 392906"/>
              <a:gd name="connsiteX13" fmla="*/ 547688 w 833438"/>
              <a:gd name="connsiteY13" fmla="*/ 176212 h 392906"/>
              <a:gd name="connsiteX14" fmla="*/ 490538 w 833438"/>
              <a:gd name="connsiteY14" fmla="*/ 173831 h 392906"/>
              <a:gd name="connsiteX15" fmla="*/ 481013 w 833438"/>
              <a:gd name="connsiteY15" fmla="*/ 171450 h 392906"/>
              <a:gd name="connsiteX16" fmla="*/ 471488 w 833438"/>
              <a:gd name="connsiteY16" fmla="*/ 173831 h 392906"/>
              <a:gd name="connsiteX17" fmla="*/ 452438 w 833438"/>
              <a:gd name="connsiteY17" fmla="*/ 173831 h 392906"/>
              <a:gd name="connsiteX18" fmla="*/ 371475 w 833438"/>
              <a:gd name="connsiteY18" fmla="*/ 178594 h 392906"/>
              <a:gd name="connsiteX19" fmla="*/ 257175 w 833438"/>
              <a:gd name="connsiteY19" fmla="*/ 207169 h 392906"/>
              <a:gd name="connsiteX20" fmla="*/ 195263 w 833438"/>
              <a:gd name="connsiteY20" fmla="*/ 202406 h 392906"/>
              <a:gd name="connsiteX21" fmla="*/ 97632 w 833438"/>
              <a:gd name="connsiteY21" fmla="*/ 235744 h 392906"/>
              <a:gd name="connsiteX22" fmla="*/ 33338 w 833438"/>
              <a:gd name="connsiteY22" fmla="*/ 288131 h 392906"/>
              <a:gd name="connsiteX23" fmla="*/ 0 w 833438"/>
              <a:gd name="connsiteY23" fmla="*/ 392906 h 392906"/>
              <a:gd name="connsiteX24" fmla="*/ 831057 w 833438"/>
              <a:gd name="connsiteY24" fmla="*/ 392906 h 392906"/>
              <a:gd name="connsiteX0" fmla="*/ 831057 w 831057"/>
              <a:gd name="connsiteY0" fmla="*/ 0 h 392906"/>
              <a:gd name="connsiteX1" fmla="*/ 709613 w 831057"/>
              <a:gd name="connsiteY1" fmla="*/ 4762 h 392906"/>
              <a:gd name="connsiteX2" fmla="*/ 590551 w 831057"/>
              <a:gd name="connsiteY2" fmla="*/ 2381 h 392906"/>
              <a:gd name="connsiteX3" fmla="*/ 559594 w 831057"/>
              <a:gd name="connsiteY3" fmla="*/ 11906 h 392906"/>
              <a:gd name="connsiteX4" fmla="*/ 552451 w 831057"/>
              <a:gd name="connsiteY4" fmla="*/ 35719 h 392906"/>
              <a:gd name="connsiteX5" fmla="*/ 661988 w 831057"/>
              <a:gd name="connsiteY5" fmla="*/ 83344 h 392906"/>
              <a:gd name="connsiteX6" fmla="*/ 683419 w 831057"/>
              <a:gd name="connsiteY6" fmla="*/ 92869 h 392906"/>
              <a:gd name="connsiteX7" fmla="*/ 628651 w 831057"/>
              <a:gd name="connsiteY7" fmla="*/ 111919 h 392906"/>
              <a:gd name="connsiteX8" fmla="*/ 535782 w 831057"/>
              <a:gd name="connsiteY8" fmla="*/ 128587 h 392906"/>
              <a:gd name="connsiteX9" fmla="*/ 535782 w 831057"/>
              <a:gd name="connsiteY9" fmla="*/ 128587 h 392906"/>
              <a:gd name="connsiteX10" fmla="*/ 533401 w 831057"/>
              <a:gd name="connsiteY10" fmla="*/ 152400 h 392906"/>
              <a:gd name="connsiteX11" fmla="*/ 550069 w 831057"/>
              <a:gd name="connsiteY11" fmla="*/ 164306 h 392906"/>
              <a:gd name="connsiteX12" fmla="*/ 552451 w 831057"/>
              <a:gd name="connsiteY12" fmla="*/ 171450 h 392906"/>
              <a:gd name="connsiteX13" fmla="*/ 545307 w 831057"/>
              <a:gd name="connsiteY13" fmla="*/ 176212 h 392906"/>
              <a:gd name="connsiteX14" fmla="*/ 488157 w 831057"/>
              <a:gd name="connsiteY14" fmla="*/ 173831 h 392906"/>
              <a:gd name="connsiteX15" fmla="*/ 478632 w 831057"/>
              <a:gd name="connsiteY15" fmla="*/ 171450 h 392906"/>
              <a:gd name="connsiteX16" fmla="*/ 469107 w 831057"/>
              <a:gd name="connsiteY16" fmla="*/ 173831 h 392906"/>
              <a:gd name="connsiteX17" fmla="*/ 450057 w 831057"/>
              <a:gd name="connsiteY17" fmla="*/ 173831 h 392906"/>
              <a:gd name="connsiteX18" fmla="*/ 369094 w 831057"/>
              <a:gd name="connsiteY18" fmla="*/ 178594 h 392906"/>
              <a:gd name="connsiteX19" fmla="*/ 254794 w 831057"/>
              <a:gd name="connsiteY19" fmla="*/ 207169 h 392906"/>
              <a:gd name="connsiteX20" fmla="*/ 192882 w 831057"/>
              <a:gd name="connsiteY20" fmla="*/ 202406 h 392906"/>
              <a:gd name="connsiteX21" fmla="*/ 95251 w 831057"/>
              <a:gd name="connsiteY21" fmla="*/ 235744 h 392906"/>
              <a:gd name="connsiteX22" fmla="*/ 30957 w 831057"/>
              <a:gd name="connsiteY22" fmla="*/ 288131 h 392906"/>
              <a:gd name="connsiteX23" fmla="*/ 0 w 831057"/>
              <a:gd name="connsiteY23" fmla="*/ 371475 h 392906"/>
              <a:gd name="connsiteX24" fmla="*/ 828676 w 831057"/>
              <a:gd name="connsiteY24" fmla="*/ 392906 h 392906"/>
              <a:gd name="connsiteX0" fmla="*/ 831057 w 831057"/>
              <a:gd name="connsiteY0" fmla="*/ 0 h 376237"/>
              <a:gd name="connsiteX1" fmla="*/ 709613 w 831057"/>
              <a:gd name="connsiteY1" fmla="*/ 4762 h 376237"/>
              <a:gd name="connsiteX2" fmla="*/ 590551 w 831057"/>
              <a:gd name="connsiteY2" fmla="*/ 2381 h 376237"/>
              <a:gd name="connsiteX3" fmla="*/ 559594 w 831057"/>
              <a:gd name="connsiteY3" fmla="*/ 11906 h 376237"/>
              <a:gd name="connsiteX4" fmla="*/ 552451 w 831057"/>
              <a:gd name="connsiteY4" fmla="*/ 35719 h 376237"/>
              <a:gd name="connsiteX5" fmla="*/ 661988 w 831057"/>
              <a:gd name="connsiteY5" fmla="*/ 83344 h 376237"/>
              <a:gd name="connsiteX6" fmla="*/ 683419 w 831057"/>
              <a:gd name="connsiteY6" fmla="*/ 92869 h 376237"/>
              <a:gd name="connsiteX7" fmla="*/ 628651 w 831057"/>
              <a:gd name="connsiteY7" fmla="*/ 111919 h 376237"/>
              <a:gd name="connsiteX8" fmla="*/ 535782 w 831057"/>
              <a:gd name="connsiteY8" fmla="*/ 128587 h 376237"/>
              <a:gd name="connsiteX9" fmla="*/ 535782 w 831057"/>
              <a:gd name="connsiteY9" fmla="*/ 128587 h 376237"/>
              <a:gd name="connsiteX10" fmla="*/ 533401 w 831057"/>
              <a:gd name="connsiteY10" fmla="*/ 152400 h 376237"/>
              <a:gd name="connsiteX11" fmla="*/ 550069 w 831057"/>
              <a:gd name="connsiteY11" fmla="*/ 164306 h 376237"/>
              <a:gd name="connsiteX12" fmla="*/ 552451 w 831057"/>
              <a:gd name="connsiteY12" fmla="*/ 171450 h 376237"/>
              <a:gd name="connsiteX13" fmla="*/ 545307 w 831057"/>
              <a:gd name="connsiteY13" fmla="*/ 176212 h 376237"/>
              <a:gd name="connsiteX14" fmla="*/ 488157 w 831057"/>
              <a:gd name="connsiteY14" fmla="*/ 173831 h 376237"/>
              <a:gd name="connsiteX15" fmla="*/ 478632 w 831057"/>
              <a:gd name="connsiteY15" fmla="*/ 171450 h 376237"/>
              <a:gd name="connsiteX16" fmla="*/ 469107 w 831057"/>
              <a:gd name="connsiteY16" fmla="*/ 173831 h 376237"/>
              <a:gd name="connsiteX17" fmla="*/ 450057 w 831057"/>
              <a:gd name="connsiteY17" fmla="*/ 173831 h 376237"/>
              <a:gd name="connsiteX18" fmla="*/ 369094 w 831057"/>
              <a:gd name="connsiteY18" fmla="*/ 178594 h 376237"/>
              <a:gd name="connsiteX19" fmla="*/ 254794 w 831057"/>
              <a:gd name="connsiteY19" fmla="*/ 207169 h 376237"/>
              <a:gd name="connsiteX20" fmla="*/ 192882 w 831057"/>
              <a:gd name="connsiteY20" fmla="*/ 202406 h 376237"/>
              <a:gd name="connsiteX21" fmla="*/ 95251 w 831057"/>
              <a:gd name="connsiteY21" fmla="*/ 235744 h 376237"/>
              <a:gd name="connsiteX22" fmla="*/ 30957 w 831057"/>
              <a:gd name="connsiteY22" fmla="*/ 288131 h 376237"/>
              <a:gd name="connsiteX23" fmla="*/ 0 w 831057"/>
              <a:gd name="connsiteY23" fmla="*/ 371475 h 376237"/>
              <a:gd name="connsiteX24" fmla="*/ 828676 w 831057"/>
              <a:gd name="connsiteY24" fmla="*/ 376237 h 376237"/>
              <a:gd name="connsiteX0" fmla="*/ 831057 w 831057"/>
              <a:gd name="connsiteY0" fmla="*/ 0 h 371475"/>
              <a:gd name="connsiteX1" fmla="*/ 709613 w 831057"/>
              <a:gd name="connsiteY1" fmla="*/ 4762 h 371475"/>
              <a:gd name="connsiteX2" fmla="*/ 590551 w 831057"/>
              <a:gd name="connsiteY2" fmla="*/ 2381 h 371475"/>
              <a:gd name="connsiteX3" fmla="*/ 559594 w 831057"/>
              <a:gd name="connsiteY3" fmla="*/ 11906 h 371475"/>
              <a:gd name="connsiteX4" fmla="*/ 552451 w 831057"/>
              <a:gd name="connsiteY4" fmla="*/ 35719 h 371475"/>
              <a:gd name="connsiteX5" fmla="*/ 661988 w 831057"/>
              <a:gd name="connsiteY5" fmla="*/ 83344 h 371475"/>
              <a:gd name="connsiteX6" fmla="*/ 683419 w 831057"/>
              <a:gd name="connsiteY6" fmla="*/ 92869 h 371475"/>
              <a:gd name="connsiteX7" fmla="*/ 628651 w 831057"/>
              <a:gd name="connsiteY7" fmla="*/ 111919 h 371475"/>
              <a:gd name="connsiteX8" fmla="*/ 535782 w 831057"/>
              <a:gd name="connsiteY8" fmla="*/ 128587 h 371475"/>
              <a:gd name="connsiteX9" fmla="*/ 535782 w 831057"/>
              <a:gd name="connsiteY9" fmla="*/ 128587 h 371475"/>
              <a:gd name="connsiteX10" fmla="*/ 533401 w 831057"/>
              <a:gd name="connsiteY10" fmla="*/ 152400 h 371475"/>
              <a:gd name="connsiteX11" fmla="*/ 550069 w 831057"/>
              <a:gd name="connsiteY11" fmla="*/ 164306 h 371475"/>
              <a:gd name="connsiteX12" fmla="*/ 552451 w 831057"/>
              <a:gd name="connsiteY12" fmla="*/ 171450 h 371475"/>
              <a:gd name="connsiteX13" fmla="*/ 545307 w 831057"/>
              <a:gd name="connsiteY13" fmla="*/ 176212 h 371475"/>
              <a:gd name="connsiteX14" fmla="*/ 488157 w 831057"/>
              <a:gd name="connsiteY14" fmla="*/ 173831 h 371475"/>
              <a:gd name="connsiteX15" fmla="*/ 478632 w 831057"/>
              <a:gd name="connsiteY15" fmla="*/ 171450 h 371475"/>
              <a:gd name="connsiteX16" fmla="*/ 469107 w 831057"/>
              <a:gd name="connsiteY16" fmla="*/ 173831 h 371475"/>
              <a:gd name="connsiteX17" fmla="*/ 450057 w 831057"/>
              <a:gd name="connsiteY17" fmla="*/ 173831 h 371475"/>
              <a:gd name="connsiteX18" fmla="*/ 369094 w 831057"/>
              <a:gd name="connsiteY18" fmla="*/ 178594 h 371475"/>
              <a:gd name="connsiteX19" fmla="*/ 254794 w 831057"/>
              <a:gd name="connsiteY19" fmla="*/ 207169 h 371475"/>
              <a:gd name="connsiteX20" fmla="*/ 192882 w 831057"/>
              <a:gd name="connsiteY20" fmla="*/ 202406 h 371475"/>
              <a:gd name="connsiteX21" fmla="*/ 95251 w 831057"/>
              <a:gd name="connsiteY21" fmla="*/ 235744 h 371475"/>
              <a:gd name="connsiteX22" fmla="*/ 30957 w 831057"/>
              <a:gd name="connsiteY22" fmla="*/ 288131 h 371475"/>
              <a:gd name="connsiteX23" fmla="*/ 0 w 831057"/>
              <a:gd name="connsiteY23" fmla="*/ 371475 h 371475"/>
              <a:gd name="connsiteX24" fmla="*/ 828676 w 831057"/>
              <a:gd name="connsiteY24" fmla="*/ 369093 h 371475"/>
              <a:gd name="connsiteX0" fmla="*/ 831057 w 831057"/>
              <a:gd name="connsiteY0" fmla="*/ 0 h 371475"/>
              <a:gd name="connsiteX1" fmla="*/ 709613 w 831057"/>
              <a:gd name="connsiteY1" fmla="*/ 4762 h 371475"/>
              <a:gd name="connsiteX2" fmla="*/ 590551 w 831057"/>
              <a:gd name="connsiteY2" fmla="*/ 2381 h 371475"/>
              <a:gd name="connsiteX3" fmla="*/ 559594 w 831057"/>
              <a:gd name="connsiteY3" fmla="*/ 11906 h 371475"/>
              <a:gd name="connsiteX4" fmla="*/ 552451 w 831057"/>
              <a:gd name="connsiteY4" fmla="*/ 35719 h 371475"/>
              <a:gd name="connsiteX5" fmla="*/ 661988 w 831057"/>
              <a:gd name="connsiteY5" fmla="*/ 83344 h 371475"/>
              <a:gd name="connsiteX6" fmla="*/ 683419 w 831057"/>
              <a:gd name="connsiteY6" fmla="*/ 92869 h 371475"/>
              <a:gd name="connsiteX7" fmla="*/ 628651 w 831057"/>
              <a:gd name="connsiteY7" fmla="*/ 111919 h 371475"/>
              <a:gd name="connsiteX8" fmla="*/ 535782 w 831057"/>
              <a:gd name="connsiteY8" fmla="*/ 128587 h 371475"/>
              <a:gd name="connsiteX9" fmla="*/ 535782 w 831057"/>
              <a:gd name="connsiteY9" fmla="*/ 128587 h 371475"/>
              <a:gd name="connsiteX10" fmla="*/ 533401 w 831057"/>
              <a:gd name="connsiteY10" fmla="*/ 152400 h 371475"/>
              <a:gd name="connsiteX11" fmla="*/ 550069 w 831057"/>
              <a:gd name="connsiteY11" fmla="*/ 164306 h 371475"/>
              <a:gd name="connsiteX12" fmla="*/ 552451 w 831057"/>
              <a:gd name="connsiteY12" fmla="*/ 171450 h 371475"/>
              <a:gd name="connsiteX13" fmla="*/ 545307 w 831057"/>
              <a:gd name="connsiteY13" fmla="*/ 176212 h 371475"/>
              <a:gd name="connsiteX14" fmla="*/ 488157 w 831057"/>
              <a:gd name="connsiteY14" fmla="*/ 173831 h 371475"/>
              <a:gd name="connsiteX15" fmla="*/ 478632 w 831057"/>
              <a:gd name="connsiteY15" fmla="*/ 171450 h 371475"/>
              <a:gd name="connsiteX16" fmla="*/ 469107 w 831057"/>
              <a:gd name="connsiteY16" fmla="*/ 173831 h 371475"/>
              <a:gd name="connsiteX17" fmla="*/ 450057 w 831057"/>
              <a:gd name="connsiteY17" fmla="*/ 173831 h 371475"/>
              <a:gd name="connsiteX18" fmla="*/ 369094 w 831057"/>
              <a:gd name="connsiteY18" fmla="*/ 178594 h 371475"/>
              <a:gd name="connsiteX19" fmla="*/ 254794 w 831057"/>
              <a:gd name="connsiteY19" fmla="*/ 207169 h 371475"/>
              <a:gd name="connsiteX20" fmla="*/ 192882 w 831057"/>
              <a:gd name="connsiteY20" fmla="*/ 202406 h 371475"/>
              <a:gd name="connsiteX21" fmla="*/ 95251 w 831057"/>
              <a:gd name="connsiteY21" fmla="*/ 235744 h 371475"/>
              <a:gd name="connsiteX22" fmla="*/ 30957 w 831057"/>
              <a:gd name="connsiteY22" fmla="*/ 288131 h 371475"/>
              <a:gd name="connsiteX23" fmla="*/ 0 w 831057"/>
              <a:gd name="connsiteY23" fmla="*/ 371475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31057" h="371475">
                <a:moveTo>
                  <a:pt x="831057" y="0"/>
                </a:moveTo>
                <a:lnTo>
                  <a:pt x="709613" y="4762"/>
                </a:lnTo>
                <a:lnTo>
                  <a:pt x="590551" y="2381"/>
                </a:lnTo>
                <a:lnTo>
                  <a:pt x="559594" y="11906"/>
                </a:lnTo>
                <a:lnTo>
                  <a:pt x="552451" y="35719"/>
                </a:lnTo>
                <a:lnTo>
                  <a:pt x="661988" y="83344"/>
                </a:lnTo>
                <a:lnTo>
                  <a:pt x="683419" y="92869"/>
                </a:lnTo>
                <a:lnTo>
                  <a:pt x="628651" y="111919"/>
                </a:lnTo>
                <a:lnTo>
                  <a:pt x="535782" y="128587"/>
                </a:lnTo>
                <a:lnTo>
                  <a:pt x="535782" y="128587"/>
                </a:lnTo>
                <a:lnTo>
                  <a:pt x="533401" y="152400"/>
                </a:lnTo>
                <a:cubicBezTo>
                  <a:pt x="538957" y="156369"/>
                  <a:pt x="545241" y="159478"/>
                  <a:pt x="550069" y="164306"/>
                </a:cubicBezTo>
                <a:cubicBezTo>
                  <a:pt x="551844" y="166081"/>
                  <a:pt x="553383" y="169119"/>
                  <a:pt x="552451" y="171450"/>
                </a:cubicBezTo>
                <a:cubicBezTo>
                  <a:pt x="551388" y="174107"/>
                  <a:pt x="547688" y="174625"/>
                  <a:pt x="545307" y="176212"/>
                </a:cubicBezTo>
                <a:cubicBezTo>
                  <a:pt x="526257" y="175418"/>
                  <a:pt x="507175" y="175189"/>
                  <a:pt x="488157" y="173831"/>
                </a:cubicBezTo>
                <a:cubicBezTo>
                  <a:pt x="484893" y="173598"/>
                  <a:pt x="481905" y="171450"/>
                  <a:pt x="478632" y="171450"/>
                </a:cubicBezTo>
                <a:cubicBezTo>
                  <a:pt x="475359" y="171450"/>
                  <a:pt x="472368" y="173559"/>
                  <a:pt x="469107" y="173831"/>
                </a:cubicBezTo>
                <a:cubicBezTo>
                  <a:pt x="462779" y="174358"/>
                  <a:pt x="456407" y="173831"/>
                  <a:pt x="450057" y="173831"/>
                </a:cubicBezTo>
                <a:lnTo>
                  <a:pt x="369094" y="178594"/>
                </a:lnTo>
                <a:lnTo>
                  <a:pt x="254794" y="207169"/>
                </a:lnTo>
                <a:lnTo>
                  <a:pt x="192882" y="202406"/>
                </a:lnTo>
                <a:lnTo>
                  <a:pt x="95251" y="235744"/>
                </a:lnTo>
                <a:lnTo>
                  <a:pt x="30957" y="288131"/>
                </a:lnTo>
                <a:lnTo>
                  <a:pt x="0" y="371475"/>
                </a:lnTo>
              </a:path>
            </a:pathLst>
          </a:custGeom>
          <a:noFill/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39" name="Freihandform 238"/>
          <p:cNvSpPr/>
          <p:nvPr/>
        </p:nvSpPr>
        <p:spPr bwMode="auto">
          <a:xfrm>
            <a:off x="4365910" y="4971346"/>
            <a:ext cx="295523" cy="515052"/>
          </a:xfrm>
          <a:custGeom>
            <a:avLst/>
            <a:gdLst>
              <a:gd name="connsiteX0" fmla="*/ 111919 w 321469"/>
              <a:gd name="connsiteY0" fmla="*/ 576263 h 581025"/>
              <a:gd name="connsiteX1" fmla="*/ 92869 w 321469"/>
              <a:gd name="connsiteY1" fmla="*/ 540544 h 581025"/>
              <a:gd name="connsiteX2" fmla="*/ 85725 w 321469"/>
              <a:gd name="connsiteY2" fmla="*/ 521494 h 581025"/>
              <a:gd name="connsiteX3" fmla="*/ 78582 w 321469"/>
              <a:gd name="connsiteY3" fmla="*/ 516731 h 581025"/>
              <a:gd name="connsiteX4" fmla="*/ 71438 w 321469"/>
              <a:gd name="connsiteY4" fmla="*/ 514350 h 581025"/>
              <a:gd name="connsiteX5" fmla="*/ 42863 w 321469"/>
              <a:gd name="connsiteY5" fmla="*/ 509588 h 581025"/>
              <a:gd name="connsiteX6" fmla="*/ 19050 w 321469"/>
              <a:gd name="connsiteY6" fmla="*/ 485775 h 581025"/>
              <a:gd name="connsiteX7" fmla="*/ 0 w 321469"/>
              <a:gd name="connsiteY7" fmla="*/ 450056 h 581025"/>
              <a:gd name="connsiteX8" fmla="*/ 9525 w 321469"/>
              <a:gd name="connsiteY8" fmla="*/ 385763 h 581025"/>
              <a:gd name="connsiteX9" fmla="*/ 28575 w 321469"/>
              <a:gd name="connsiteY9" fmla="*/ 328613 h 581025"/>
              <a:gd name="connsiteX10" fmla="*/ 38100 w 321469"/>
              <a:gd name="connsiteY10" fmla="*/ 295275 h 581025"/>
              <a:gd name="connsiteX11" fmla="*/ 16669 w 321469"/>
              <a:gd name="connsiteY11" fmla="*/ 273844 h 581025"/>
              <a:gd name="connsiteX12" fmla="*/ 21432 w 321469"/>
              <a:gd name="connsiteY12" fmla="*/ 238125 h 581025"/>
              <a:gd name="connsiteX13" fmla="*/ 47625 w 321469"/>
              <a:gd name="connsiteY13" fmla="*/ 209550 h 581025"/>
              <a:gd name="connsiteX14" fmla="*/ 54769 w 321469"/>
              <a:gd name="connsiteY14" fmla="*/ 180975 h 581025"/>
              <a:gd name="connsiteX15" fmla="*/ 26194 w 321469"/>
              <a:gd name="connsiteY15" fmla="*/ 159544 h 581025"/>
              <a:gd name="connsiteX16" fmla="*/ 0 w 321469"/>
              <a:gd name="connsiteY16" fmla="*/ 150019 h 581025"/>
              <a:gd name="connsiteX17" fmla="*/ 19050 w 321469"/>
              <a:gd name="connsiteY17" fmla="*/ 85725 h 581025"/>
              <a:gd name="connsiteX18" fmla="*/ 28575 w 321469"/>
              <a:gd name="connsiteY18" fmla="*/ 19050 h 581025"/>
              <a:gd name="connsiteX19" fmla="*/ 45244 w 321469"/>
              <a:gd name="connsiteY19" fmla="*/ 0 h 581025"/>
              <a:gd name="connsiteX20" fmla="*/ 71438 w 321469"/>
              <a:gd name="connsiteY20" fmla="*/ 19050 h 581025"/>
              <a:gd name="connsiteX21" fmla="*/ 97632 w 321469"/>
              <a:gd name="connsiteY21" fmla="*/ 38100 h 581025"/>
              <a:gd name="connsiteX22" fmla="*/ 150019 w 321469"/>
              <a:gd name="connsiteY22" fmla="*/ 14288 h 581025"/>
              <a:gd name="connsiteX23" fmla="*/ 178594 w 321469"/>
              <a:gd name="connsiteY23" fmla="*/ 50006 h 581025"/>
              <a:gd name="connsiteX24" fmla="*/ 221457 w 321469"/>
              <a:gd name="connsiteY24" fmla="*/ 92869 h 581025"/>
              <a:gd name="connsiteX25" fmla="*/ 240507 w 321469"/>
              <a:gd name="connsiteY25" fmla="*/ 116681 h 581025"/>
              <a:gd name="connsiteX26" fmla="*/ 247650 w 321469"/>
              <a:gd name="connsiteY26" fmla="*/ 152400 h 581025"/>
              <a:gd name="connsiteX27" fmla="*/ 228600 w 321469"/>
              <a:gd name="connsiteY27" fmla="*/ 207169 h 581025"/>
              <a:gd name="connsiteX28" fmla="*/ 219075 w 321469"/>
              <a:gd name="connsiteY28" fmla="*/ 250031 h 581025"/>
              <a:gd name="connsiteX29" fmla="*/ 235744 w 321469"/>
              <a:gd name="connsiteY29" fmla="*/ 283369 h 581025"/>
              <a:gd name="connsiteX30" fmla="*/ 295275 w 321469"/>
              <a:gd name="connsiteY30" fmla="*/ 352425 h 581025"/>
              <a:gd name="connsiteX31" fmla="*/ 321469 w 321469"/>
              <a:gd name="connsiteY31" fmla="*/ 395288 h 581025"/>
              <a:gd name="connsiteX32" fmla="*/ 316707 w 321469"/>
              <a:gd name="connsiteY32" fmla="*/ 438150 h 581025"/>
              <a:gd name="connsiteX33" fmla="*/ 283369 w 321469"/>
              <a:gd name="connsiteY33" fmla="*/ 476250 h 581025"/>
              <a:gd name="connsiteX34" fmla="*/ 226219 w 321469"/>
              <a:gd name="connsiteY34" fmla="*/ 526256 h 581025"/>
              <a:gd name="connsiteX35" fmla="*/ 202407 w 321469"/>
              <a:gd name="connsiteY35" fmla="*/ 561975 h 581025"/>
              <a:gd name="connsiteX36" fmla="*/ 192882 w 321469"/>
              <a:gd name="connsiteY36" fmla="*/ 581025 h 581025"/>
              <a:gd name="connsiteX0" fmla="*/ 111919 w 321469"/>
              <a:gd name="connsiteY0" fmla="*/ 576263 h 581025"/>
              <a:gd name="connsiteX1" fmla="*/ 92869 w 321469"/>
              <a:gd name="connsiteY1" fmla="*/ 540544 h 581025"/>
              <a:gd name="connsiteX2" fmla="*/ 85725 w 321469"/>
              <a:gd name="connsiteY2" fmla="*/ 521494 h 581025"/>
              <a:gd name="connsiteX3" fmla="*/ 78582 w 321469"/>
              <a:gd name="connsiteY3" fmla="*/ 516731 h 581025"/>
              <a:gd name="connsiteX4" fmla="*/ 71438 w 321469"/>
              <a:gd name="connsiteY4" fmla="*/ 514350 h 581025"/>
              <a:gd name="connsiteX5" fmla="*/ 42863 w 321469"/>
              <a:gd name="connsiteY5" fmla="*/ 509588 h 581025"/>
              <a:gd name="connsiteX6" fmla="*/ 19050 w 321469"/>
              <a:gd name="connsiteY6" fmla="*/ 485775 h 581025"/>
              <a:gd name="connsiteX7" fmla="*/ 0 w 321469"/>
              <a:gd name="connsiteY7" fmla="*/ 450056 h 581025"/>
              <a:gd name="connsiteX8" fmla="*/ 9525 w 321469"/>
              <a:gd name="connsiteY8" fmla="*/ 385763 h 581025"/>
              <a:gd name="connsiteX9" fmla="*/ 28575 w 321469"/>
              <a:gd name="connsiteY9" fmla="*/ 328613 h 581025"/>
              <a:gd name="connsiteX10" fmla="*/ 38100 w 321469"/>
              <a:gd name="connsiteY10" fmla="*/ 295275 h 581025"/>
              <a:gd name="connsiteX11" fmla="*/ 16669 w 321469"/>
              <a:gd name="connsiteY11" fmla="*/ 273844 h 581025"/>
              <a:gd name="connsiteX12" fmla="*/ 21432 w 321469"/>
              <a:gd name="connsiteY12" fmla="*/ 238125 h 581025"/>
              <a:gd name="connsiteX13" fmla="*/ 47625 w 321469"/>
              <a:gd name="connsiteY13" fmla="*/ 209550 h 581025"/>
              <a:gd name="connsiteX14" fmla="*/ 54769 w 321469"/>
              <a:gd name="connsiteY14" fmla="*/ 180975 h 581025"/>
              <a:gd name="connsiteX15" fmla="*/ 26194 w 321469"/>
              <a:gd name="connsiteY15" fmla="*/ 159544 h 581025"/>
              <a:gd name="connsiteX16" fmla="*/ 0 w 321469"/>
              <a:gd name="connsiteY16" fmla="*/ 150019 h 581025"/>
              <a:gd name="connsiteX17" fmla="*/ 0 w 321469"/>
              <a:gd name="connsiteY17" fmla="*/ 80962 h 581025"/>
              <a:gd name="connsiteX18" fmla="*/ 28575 w 321469"/>
              <a:gd name="connsiteY18" fmla="*/ 19050 h 581025"/>
              <a:gd name="connsiteX19" fmla="*/ 45244 w 321469"/>
              <a:gd name="connsiteY19" fmla="*/ 0 h 581025"/>
              <a:gd name="connsiteX20" fmla="*/ 71438 w 321469"/>
              <a:gd name="connsiteY20" fmla="*/ 19050 h 581025"/>
              <a:gd name="connsiteX21" fmla="*/ 97632 w 321469"/>
              <a:gd name="connsiteY21" fmla="*/ 38100 h 581025"/>
              <a:gd name="connsiteX22" fmla="*/ 150019 w 321469"/>
              <a:gd name="connsiteY22" fmla="*/ 14288 h 581025"/>
              <a:gd name="connsiteX23" fmla="*/ 178594 w 321469"/>
              <a:gd name="connsiteY23" fmla="*/ 50006 h 581025"/>
              <a:gd name="connsiteX24" fmla="*/ 221457 w 321469"/>
              <a:gd name="connsiteY24" fmla="*/ 92869 h 581025"/>
              <a:gd name="connsiteX25" fmla="*/ 240507 w 321469"/>
              <a:gd name="connsiteY25" fmla="*/ 116681 h 581025"/>
              <a:gd name="connsiteX26" fmla="*/ 247650 w 321469"/>
              <a:gd name="connsiteY26" fmla="*/ 152400 h 581025"/>
              <a:gd name="connsiteX27" fmla="*/ 228600 w 321469"/>
              <a:gd name="connsiteY27" fmla="*/ 207169 h 581025"/>
              <a:gd name="connsiteX28" fmla="*/ 219075 w 321469"/>
              <a:gd name="connsiteY28" fmla="*/ 250031 h 581025"/>
              <a:gd name="connsiteX29" fmla="*/ 235744 w 321469"/>
              <a:gd name="connsiteY29" fmla="*/ 283369 h 581025"/>
              <a:gd name="connsiteX30" fmla="*/ 295275 w 321469"/>
              <a:gd name="connsiteY30" fmla="*/ 352425 h 581025"/>
              <a:gd name="connsiteX31" fmla="*/ 321469 w 321469"/>
              <a:gd name="connsiteY31" fmla="*/ 395288 h 581025"/>
              <a:gd name="connsiteX32" fmla="*/ 316707 w 321469"/>
              <a:gd name="connsiteY32" fmla="*/ 438150 h 581025"/>
              <a:gd name="connsiteX33" fmla="*/ 283369 w 321469"/>
              <a:gd name="connsiteY33" fmla="*/ 476250 h 581025"/>
              <a:gd name="connsiteX34" fmla="*/ 226219 w 321469"/>
              <a:gd name="connsiteY34" fmla="*/ 526256 h 581025"/>
              <a:gd name="connsiteX35" fmla="*/ 202407 w 321469"/>
              <a:gd name="connsiteY35" fmla="*/ 561975 h 581025"/>
              <a:gd name="connsiteX36" fmla="*/ 192882 w 321469"/>
              <a:gd name="connsiteY36" fmla="*/ 581025 h 581025"/>
              <a:gd name="connsiteX0" fmla="*/ 111919 w 321469"/>
              <a:gd name="connsiteY0" fmla="*/ 576263 h 581025"/>
              <a:gd name="connsiteX1" fmla="*/ 92869 w 321469"/>
              <a:gd name="connsiteY1" fmla="*/ 540544 h 581025"/>
              <a:gd name="connsiteX2" fmla="*/ 85725 w 321469"/>
              <a:gd name="connsiteY2" fmla="*/ 521494 h 581025"/>
              <a:gd name="connsiteX3" fmla="*/ 78582 w 321469"/>
              <a:gd name="connsiteY3" fmla="*/ 516731 h 581025"/>
              <a:gd name="connsiteX4" fmla="*/ 71438 w 321469"/>
              <a:gd name="connsiteY4" fmla="*/ 514350 h 581025"/>
              <a:gd name="connsiteX5" fmla="*/ 42863 w 321469"/>
              <a:gd name="connsiteY5" fmla="*/ 509588 h 581025"/>
              <a:gd name="connsiteX6" fmla="*/ 19050 w 321469"/>
              <a:gd name="connsiteY6" fmla="*/ 485775 h 581025"/>
              <a:gd name="connsiteX7" fmla="*/ 0 w 321469"/>
              <a:gd name="connsiteY7" fmla="*/ 450056 h 581025"/>
              <a:gd name="connsiteX8" fmla="*/ 9525 w 321469"/>
              <a:gd name="connsiteY8" fmla="*/ 385763 h 581025"/>
              <a:gd name="connsiteX9" fmla="*/ 28575 w 321469"/>
              <a:gd name="connsiteY9" fmla="*/ 328613 h 581025"/>
              <a:gd name="connsiteX10" fmla="*/ 38100 w 321469"/>
              <a:gd name="connsiteY10" fmla="*/ 295275 h 581025"/>
              <a:gd name="connsiteX11" fmla="*/ 16669 w 321469"/>
              <a:gd name="connsiteY11" fmla="*/ 273844 h 581025"/>
              <a:gd name="connsiteX12" fmla="*/ 21432 w 321469"/>
              <a:gd name="connsiteY12" fmla="*/ 238125 h 581025"/>
              <a:gd name="connsiteX13" fmla="*/ 47625 w 321469"/>
              <a:gd name="connsiteY13" fmla="*/ 209550 h 581025"/>
              <a:gd name="connsiteX14" fmla="*/ 54769 w 321469"/>
              <a:gd name="connsiteY14" fmla="*/ 180975 h 581025"/>
              <a:gd name="connsiteX15" fmla="*/ 26194 w 321469"/>
              <a:gd name="connsiteY15" fmla="*/ 159544 h 581025"/>
              <a:gd name="connsiteX16" fmla="*/ 0 w 321469"/>
              <a:gd name="connsiteY16" fmla="*/ 150019 h 581025"/>
              <a:gd name="connsiteX17" fmla="*/ 0 w 321469"/>
              <a:gd name="connsiteY17" fmla="*/ 80962 h 581025"/>
              <a:gd name="connsiteX18" fmla="*/ 16669 w 321469"/>
              <a:gd name="connsiteY18" fmla="*/ 9525 h 581025"/>
              <a:gd name="connsiteX19" fmla="*/ 45244 w 321469"/>
              <a:gd name="connsiteY19" fmla="*/ 0 h 581025"/>
              <a:gd name="connsiteX20" fmla="*/ 71438 w 321469"/>
              <a:gd name="connsiteY20" fmla="*/ 19050 h 581025"/>
              <a:gd name="connsiteX21" fmla="*/ 97632 w 321469"/>
              <a:gd name="connsiteY21" fmla="*/ 38100 h 581025"/>
              <a:gd name="connsiteX22" fmla="*/ 150019 w 321469"/>
              <a:gd name="connsiteY22" fmla="*/ 14288 h 581025"/>
              <a:gd name="connsiteX23" fmla="*/ 178594 w 321469"/>
              <a:gd name="connsiteY23" fmla="*/ 50006 h 581025"/>
              <a:gd name="connsiteX24" fmla="*/ 221457 w 321469"/>
              <a:gd name="connsiteY24" fmla="*/ 92869 h 581025"/>
              <a:gd name="connsiteX25" fmla="*/ 240507 w 321469"/>
              <a:gd name="connsiteY25" fmla="*/ 116681 h 581025"/>
              <a:gd name="connsiteX26" fmla="*/ 247650 w 321469"/>
              <a:gd name="connsiteY26" fmla="*/ 152400 h 581025"/>
              <a:gd name="connsiteX27" fmla="*/ 228600 w 321469"/>
              <a:gd name="connsiteY27" fmla="*/ 207169 h 581025"/>
              <a:gd name="connsiteX28" fmla="*/ 219075 w 321469"/>
              <a:gd name="connsiteY28" fmla="*/ 250031 h 581025"/>
              <a:gd name="connsiteX29" fmla="*/ 235744 w 321469"/>
              <a:gd name="connsiteY29" fmla="*/ 283369 h 581025"/>
              <a:gd name="connsiteX30" fmla="*/ 295275 w 321469"/>
              <a:gd name="connsiteY30" fmla="*/ 352425 h 581025"/>
              <a:gd name="connsiteX31" fmla="*/ 321469 w 321469"/>
              <a:gd name="connsiteY31" fmla="*/ 395288 h 581025"/>
              <a:gd name="connsiteX32" fmla="*/ 316707 w 321469"/>
              <a:gd name="connsiteY32" fmla="*/ 438150 h 581025"/>
              <a:gd name="connsiteX33" fmla="*/ 283369 w 321469"/>
              <a:gd name="connsiteY33" fmla="*/ 476250 h 581025"/>
              <a:gd name="connsiteX34" fmla="*/ 226219 w 321469"/>
              <a:gd name="connsiteY34" fmla="*/ 526256 h 581025"/>
              <a:gd name="connsiteX35" fmla="*/ 202407 w 321469"/>
              <a:gd name="connsiteY35" fmla="*/ 561975 h 581025"/>
              <a:gd name="connsiteX36" fmla="*/ 192882 w 321469"/>
              <a:gd name="connsiteY36" fmla="*/ 581025 h 581025"/>
              <a:gd name="connsiteX0" fmla="*/ 123826 w 333376"/>
              <a:gd name="connsiteY0" fmla="*/ 576263 h 581025"/>
              <a:gd name="connsiteX1" fmla="*/ 104776 w 333376"/>
              <a:gd name="connsiteY1" fmla="*/ 540544 h 581025"/>
              <a:gd name="connsiteX2" fmla="*/ 97632 w 333376"/>
              <a:gd name="connsiteY2" fmla="*/ 521494 h 581025"/>
              <a:gd name="connsiteX3" fmla="*/ 90489 w 333376"/>
              <a:gd name="connsiteY3" fmla="*/ 516731 h 581025"/>
              <a:gd name="connsiteX4" fmla="*/ 83345 w 333376"/>
              <a:gd name="connsiteY4" fmla="*/ 514350 h 581025"/>
              <a:gd name="connsiteX5" fmla="*/ 54770 w 333376"/>
              <a:gd name="connsiteY5" fmla="*/ 509588 h 581025"/>
              <a:gd name="connsiteX6" fmla="*/ 30957 w 333376"/>
              <a:gd name="connsiteY6" fmla="*/ 485775 h 581025"/>
              <a:gd name="connsiteX7" fmla="*/ 11907 w 333376"/>
              <a:gd name="connsiteY7" fmla="*/ 450056 h 581025"/>
              <a:gd name="connsiteX8" fmla="*/ 21432 w 333376"/>
              <a:gd name="connsiteY8" fmla="*/ 385763 h 581025"/>
              <a:gd name="connsiteX9" fmla="*/ 40482 w 333376"/>
              <a:gd name="connsiteY9" fmla="*/ 328613 h 581025"/>
              <a:gd name="connsiteX10" fmla="*/ 50007 w 333376"/>
              <a:gd name="connsiteY10" fmla="*/ 295275 h 581025"/>
              <a:gd name="connsiteX11" fmla="*/ 28576 w 333376"/>
              <a:gd name="connsiteY11" fmla="*/ 273844 h 581025"/>
              <a:gd name="connsiteX12" fmla="*/ 33339 w 333376"/>
              <a:gd name="connsiteY12" fmla="*/ 238125 h 581025"/>
              <a:gd name="connsiteX13" fmla="*/ 59532 w 333376"/>
              <a:gd name="connsiteY13" fmla="*/ 209550 h 581025"/>
              <a:gd name="connsiteX14" fmla="*/ 66676 w 333376"/>
              <a:gd name="connsiteY14" fmla="*/ 180975 h 581025"/>
              <a:gd name="connsiteX15" fmla="*/ 38101 w 333376"/>
              <a:gd name="connsiteY15" fmla="*/ 159544 h 581025"/>
              <a:gd name="connsiteX16" fmla="*/ 0 w 333376"/>
              <a:gd name="connsiteY16" fmla="*/ 150019 h 581025"/>
              <a:gd name="connsiteX17" fmla="*/ 11907 w 333376"/>
              <a:gd name="connsiteY17" fmla="*/ 80962 h 581025"/>
              <a:gd name="connsiteX18" fmla="*/ 28576 w 333376"/>
              <a:gd name="connsiteY18" fmla="*/ 9525 h 581025"/>
              <a:gd name="connsiteX19" fmla="*/ 57151 w 333376"/>
              <a:gd name="connsiteY19" fmla="*/ 0 h 581025"/>
              <a:gd name="connsiteX20" fmla="*/ 83345 w 333376"/>
              <a:gd name="connsiteY20" fmla="*/ 19050 h 581025"/>
              <a:gd name="connsiteX21" fmla="*/ 109539 w 333376"/>
              <a:gd name="connsiteY21" fmla="*/ 38100 h 581025"/>
              <a:gd name="connsiteX22" fmla="*/ 161926 w 333376"/>
              <a:gd name="connsiteY22" fmla="*/ 14288 h 581025"/>
              <a:gd name="connsiteX23" fmla="*/ 190501 w 333376"/>
              <a:gd name="connsiteY23" fmla="*/ 50006 h 581025"/>
              <a:gd name="connsiteX24" fmla="*/ 233364 w 333376"/>
              <a:gd name="connsiteY24" fmla="*/ 92869 h 581025"/>
              <a:gd name="connsiteX25" fmla="*/ 252414 w 333376"/>
              <a:gd name="connsiteY25" fmla="*/ 116681 h 581025"/>
              <a:gd name="connsiteX26" fmla="*/ 259557 w 333376"/>
              <a:gd name="connsiteY26" fmla="*/ 152400 h 581025"/>
              <a:gd name="connsiteX27" fmla="*/ 240507 w 333376"/>
              <a:gd name="connsiteY27" fmla="*/ 207169 h 581025"/>
              <a:gd name="connsiteX28" fmla="*/ 230982 w 333376"/>
              <a:gd name="connsiteY28" fmla="*/ 250031 h 581025"/>
              <a:gd name="connsiteX29" fmla="*/ 247651 w 333376"/>
              <a:gd name="connsiteY29" fmla="*/ 283369 h 581025"/>
              <a:gd name="connsiteX30" fmla="*/ 307182 w 333376"/>
              <a:gd name="connsiteY30" fmla="*/ 352425 h 581025"/>
              <a:gd name="connsiteX31" fmla="*/ 333376 w 333376"/>
              <a:gd name="connsiteY31" fmla="*/ 395288 h 581025"/>
              <a:gd name="connsiteX32" fmla="*/ 328614 w 333376"/>
              <a:gd name="connsiteY32" fmla="*/ 438150 h 581025"/>
              <a:gd name="connsiteX33" fmla="*/ 295276 w 333376"/>
              <a:gd name="connsiteY33" fmla="*/ 476250 h 581025"/>
              <a:gd name="connsiteX34" fmla="*/ 238126 w 333376"/>
              <a:gd name="connsiteY34" fmla="*/ 526256 h 581025"/>
              <a:gd name="connsiteX35" fmla="*/ 214314 w 333376"/>
              <a:gd name="connsiteY35" fmla="*/ 561975 h 581025"/>
              <a:gd name="connsiteX36" fmla="*/ 204789 w 333376"/>
              <a:gd name="connsiteY36" fmla="*/ 581025 h 58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3376" h="581025">
                <a:moveTo>
                  <a:pt x="123826" y="576263"/>
                </a:moveTo>
                <a:lnTo>
                  <a:pt x="104776" y="540544"/>
                </a:lnTo>
                <a:cubicBezTo>
                  <a:pt x="102395" y="534194"/>
                  <a:pt x="101121" y="527309"/>
                  <a:pt x="97632" y="521494"/>
                </a:cubicBezTo>
                <a:cubicBezTo>
                  <a:pt x="96160" y="519040"/>
                  <a:pt x="93049" y="518011"/>
                  <a:pt x="90489" y="516731"/>
                </a:cubicBezTo>
                <a:cubicBezTo>
                  <a:pt x="88244" y="515608"/>
                  <a:pt x="83345" y="514350"/>
                  <a:pt x="83345" y="514350"/>
                </a:cubicBezTo>
                <a:lnTo>
                  <a:pt x="54770" y="509588"/>
                </a:lnTo>
                <a:lnTo>
                  <a:pt x="30957" y="485775"/>
                </a:lnTo>
                <a:lnTo>
                  <a:pt x="11907" y="450056"/>
                </a:lnTo>
                <a:lnTo>
                  <a:pt x="21432" y="385763"/>
                </a:lnTo>
                <a:lnTo>
                  <a:pt x="40482" y="328613"/>
                </a:lnTo>
                <a:lnTo>
                  <a:pt x="50007" y="295275"/>
                </a:lnTo>
                <a:lnTo>
                  <a:pt x="28576" y="273844"/>
                </a:lnTo>
                <a:lnTo>
                  <a:pt x="33339" y="238125"/>
                </a:lnTo>
                <a:lnTo>
                  <a:pt x="59532" y="209550"/>
                </a:lnTo>
                <a:lnTo>
                  <a:pt x="66676" y="180975"/>
                </a:lnTo>
                <a:lnTo>
                  <a:pt x="38101" y="159544"/>
                </a:lnTo>
                <a:lnTo>
                  <a:pt x="0" y="150019"/>
                </a:lnTo>
                <a:lnTo>
                  <a:pt x="11907" y="80962"/>
                </a:lnTo>
                <a:lnTo>
                  <a:pt x="28576" y="9525"/>
                </a:lnTo>
                <a:lnTo>
                  <a:pt x="57151" y="0"/>
                </a:lnTo>
                <a:lnTo>
                  <a:pt x="83345" y="19050"/>
                </a:lnTo>
                <a:lnTo>
                  <a:pt x="109539" y="38100"/>
                </a:lnTo>
                <a:lnTo>
                  <a:pt x="161926" y="14288"/>
                </a:lnTo>
                <a:lnTo>
                  <a:pt x="190501" y="50006"/>
                </a:lnTo>
                <a:lnTo>
                  <a:pt x="233364" y="92869"/>
                </a:lnTo>
                <a:lnTo>
                  <a:pt x="252414" y="116681"/>
                </a:lnTo>
                <a:lnTo>
                  <a:pt x="259557" y="152400"/>
                </a:lnTo>
                <a:lnTo>
                  <a:pt x="240507" y="207169"/>
                </a:lnTo>
                <a:lnTo>
                  <a:pt x="230982" y="250031"/>
                </a:lnTo>
                <a:lnTo>
                  <a:pt x="247651" y="283369"/>
                </a:lnTo>
                <a:lnTo>
                  <a:pt x="307182" y="352425"/>
                </a:lnTo>
                <a:lnTo>
                  <a:pt x="333376" y="395288"/>
                </a:lnTo>
                <a:lnTo>
                  <a:pt x="328614" y="438150"/>
                </a:lnTo>
                <a:lnTo>
                  <a:pt x="295276" y="476250"/>
                </a:lnTo>
                <a:lnTo>
                  <a:pt x="238126" y="526256"/>
                </a:lnTo>
                <a:lnTo>
                  <a:pt x="214314" y="561975"/>
                </a:lnTo>
                <a:lnTo>
                  <a:pt x="204789" y="581025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240" name="Titel 1"/>
          <p:cNvSpPr txBox="1">
            <a:spLocks/>
          </p:cNvSpPr>
          <p:nvPr/>
        </p:nvSpPr>
        <p:spPr bwMode="auto">
          <a:xfrm>
            <a:off x="4420090" y="5097945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Tirana</a:t>
            </a:r>
          </a:p>
        </p:txBody>
      </p:sp>
      <p:sp>
        <p:nvSpPr>
          <p:cNvPr id="241" name="Ellipse 240"/>
          <p:cNvSpPr/>
          <p:nvPr/>
        </p:nvSpPr>
        <p:spPr bwMode="auto">
          <a:xfrm>
            <a:off x="4470853" y="5190716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42" name="Titel 1"/>
          <p:cNvSpPr txBox="1">
            <a:spLocks/>
          </p:cNvSpPr>
          <p:nvPr/>
        </p:nvSpPr>
        <p:spPr bwMode="auto">
          <a:xfrm>
            <a:off x="4239259" y="5320832"/>
            <a:ext cx="558881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Alban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43" name="Freeform 814"/>
          <p:cNvSpPr>
            <a:spLocks/>
          </p:cNvSpPr>
          <p:nvPr/>
        </p:nvSpPr>
        <p:spPr bwMode="auto">
          <a:xfrm>
            <a:off x="4242411" y="4805236"/>
            <a:ext cx="301423" cy="303682"/>
          </a:xfrm>
          <a:custGeom>
            <a:avLst/>
            <a:gdLst>
              <a:gd name="T0" fmla="*/ 28 w 50"/>
              <a:gd name="T1" fmla="*/ 7 h 61"/>
              <a:gd name="T2" fmla="*/ 50 w 50"/>
              <a:gd name="T3" fmla="*/ 24 h 61"/>
              <a:gd name="T4" fmla="*/ 44 w 50"/>
              <a:gd name="T5" fmla="*/ 36 h 61"/>
              <a:gd name="T6" fmla="*/ 36 w 50"/>
              <a:gd name="T7" fmla="*/ 40 h 61"/>
              <a:gd name="T8" fmla="*/ 28 w 50"/>
              <a:gd name="T9" fmla="*/ 35 h 61"/>
              <a:gd name="T10" fmla="*/ 22 w 50"/>
              <a:gd name="T11" fmla="*/ 61 h 61"/>
              <a:gd name="T12" fmla="*/ 17 w 50"/>
              <a:gd name="T13" fmla="*/ 59 h 61"/>
              <a:gd name="T14" fmla="*/ 13 w 50"/>
              <a:gd name="T15" fmla="*/ 51 h 61"/>
              <a:gd name="T16" fmla="*/ 5 w 50"/>
              <a:gd name="T17" fmla="*/ 45 h 61"/>
              <a:gd name="T18" fmla="*/ 0 w 50"/>
              <a:gd name="T19" fmla="*/ 41 h 61"/>
              <a:gd name="T20" fmla="*/ 0 w 50"/>
              <a:gd name="T21" fmla="*/ 22 h 61"/>
              <a:gd name="T22" fmla="*/ 7 w 50"/>
              <a:gd name="T23" fmla="*/ 7 h 61"/>
              <a:gd name="T24" fmla="*/ 22 w 50"/>
              <a:gd name="T25" fmla="*/ 0 h 61"/>
              <a:gd name="T26" fmla="*/ 28 w 50"/>
              <a:gd name="T27" fmla="*/ 7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61">
                <a:moveTo>
                  <a:pt x="28" y="7"/>
                </a:moveTo>
                <a:cubicBezTo>
                  <a:pt x="40" y="17"/>
                  <a:pt x="50" y="21"/>
                  <a:pt x="50" y="24"/>
                </a:cubicBezTo>
                <a:cubicBezTo>
                  <a:pt x="50" y="27"/>
                  <a:pt x="41" y="31"/>
                  <a:pt x="44" y="36"/>
                </a:cubicBezTo>
                <a:cubicBezTo>
                  <a:pt x="36" y="40"/>
                  <a:pt x="36" y="40"/>
                  <a:pt x="36" y="40"/>
                </a:cubicBezTo>
                <a:cubicBezTo>
                  <a:pt x="32" y="39"/>
                  <a:pt x="32" y="32"/>
                  <a:pt x="28" y="35"/>
                </a:cubicBezTo>
                <a:cubicBezTo>
                  <a:pt x="26" y="36"/>
                  <a:pt x="24" y="50"/>
                  <a:pt x="22" y="61"/>
                </a:cubicBezTo>
                <a:cubicBezTo>
                  <a:pt x="19" y="60"/>
                  <a:pt x="18" y="60"/>
                  <a:pt x="17" y="59"/>
                </a:cubicBezTo>
                <a:cubicBezTo>
                  <a:pt x="15" y="57"/>
                  <a:pt x="17" y="54"/>
                  <a:pt x="13" y="51"/>
                </a:cubicBezTo>
                <a:cubicBezTo>
                  <a:pt x="10" y="49"/>
                  <a:pt x="9" y="47"/>
                  <a:pt x="5" y="45"/>
                </a:cubicBezTo>
                <a:cubicBezTo>
                  <a:pt x="4" y="44"/>
                  <a:pt x="2" y="42"/>
                  <a:pt x="0" y="41"/>
                </a:cubicBezTo>
                <a:cubicBezTo>
                  <a:pt x="1" y="34"/>
                  <a:pt x="0" y="26"/>
                  <a:pt x="0" y="22"/>
                </a:cubicBezTo>
                <a:cubicBezTo>
                  <a:pt x="0" y="14"/>
                  <a:pt x="3" y="11"/>
                  <a:pt x="7" y="7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2"/>
                  <a:pt x="24" y="4"/>
                  <a:pt x="28" y="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244" name="Titel 1"/>
          <p:cNvSpPr txBox="1">
            <a:spLocks/>
          </p:cNvSpPr>
          <p:nvPr/>
        </p:nvSpPr>
        <p:spPr bwMode="auto">
          <a:xfrm>
            <a:off x="4071694" y="5016325"/>
            <a:ext cx="375939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000000"/>
                </a:solidFill>
              </a:rPr>
              <a:t>Podgorica</a:t>
            </a:r>
          </a:p>
        </p:txBody>
      </p:sp>
      <p:sp>
        <p:nvSpPr>
          <p:cNvPr id="245" name="Ellipse 244"/>
          <p:cNvSpPr/>
          <p:nvPr/>
        </p:nvSpPr>
        <p:spPr bwMode="auto">
          <a:xfrm>
            <a:off x="4339877" y="4971185"/>
            <a:ext cx="47846" cy="49633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46" name="Titel 1"/>
          <p:cNvSpPr txBox="1">
            <a:spLocks/>
          </p:cNvSpPr>
          <p:nvPr/>
        </p:nvSpPr>
        <p:spPr bwMode="auto">
          <a:xfrm>
            <a:off x="4147888" y="4867699"/>
            <a:ext cx="614770" cy="75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Montenegro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47" name="Rechteck 246"/>
          <p:cNvSpPr/>
          <p:nvPr/>
        </p:nvSpPr>
        <p:spPr bwMode="auto">
          <a:xfrm>
            <a:off x="4904274" y="1388995"/>
            <a:ext cx="1357312" cy="63476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Poland</a:t>
            </a:r>
            <a:endParaRPr lang="en-GB" sz="900" b="1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  <a:p>
            <a:pPr marL="0" lvl="1" indent="0">
              <a:buClr>
                <a:srgbClr val="E2002A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RCL-PL</a:t>
            </a:r>
            <a:br>
              <a:rPr lang="en-US" sz="9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RCO-CSKD</a:t>
            </a:r>
            <a:endParaRPr lang="en-US" sz="900" dirty="0">
              <a:solidFill>
                <a:srgbClr val="000000"/>
              </a:solidFill>
            </a:endParaRPr>
          </a:p>
          <a:p>
            <a:pPr marL="133350" lvl="1" indent="-133350">
              <a:buClr>
                <a:srgbClr val="E2002A"/>
              </a:buClr>
              <a:buFont typeface="Wingdings" panose="05000000000000000000" pitchFamily="2" charset="2"/>
              <a:buChar char="§"/>
            </a:pPr>
            <a:endParaRPr lang="en-GB" sz="9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48" name="Rechteck 247"/>
          <p:cNvSpPr/>
          <p:nvPr/>
        </p:nvSpPr>
        <p:spPr bwMode="auto">
          <a:xfrm>
            <a:off x="3490268" y="1387072"/>
            <a:ext cx="1357312" cy="634774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900" b="1" dirty="0">
                <a:solidFill>
                  <a:srgbClr val="FFFFFF"/>
                </a:solidFill>
              </a:rPr>
              <a:t>Turkey</a:t>
            </a:r>
            <a:endParaRPr lang="en-GB" sz="900" b="1" dirty="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  <a:p>
            <a:r>
              <a:rPr lang="en-US" sz="900" dirty="0">
                <a:solidFill>
                  <a:srgbClr val="FFFFFF"/>
                </a:solidFill>
              </a:rPr>
              <a:t>RCL-TR</a:t>
            </a:r>
          </a:p>
        </p:txBody>
      </p:sp>
      <p:sp>
        <p:nvSpPr>
          <p:cNvPr id="249" name="Rechteck 248"/>
          <p:cNvSpPr/>
          <p:nvPr/>
        </p:nvSpPr>
        <p:spPr bwMode="auto">
          <a:xfrm>
            <a:off x="2075144" y="5542827"/>
            <a:ext cx="1357312" cy="63476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900" b="1" dirty="0">
                <a:solidFill>
                  <a:srgbClr val="000000"/>
                </a:solidFill>
              </a:rPr>
              <a:t>Slovenia</a:t>
            </a:r>
            <a:endParaRPr lang="en-GB" sz="900" b="1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  <a:p>
            <a:pPr marL="0" lvl="1" indent="0">
              <a:buClr>
                <a:srgbClr val="E2002A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RCC-SI</a:t>
            </a:r>
            <a:br>
              <a:rPr lang="en-US" sz="9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RCA</a:t>
            </a:r>
            <a:endParaRPr lang="en-GB" sz="9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250" name="Gruppieren 249"/>
          <p:cNvGrpSpPr/>
          <p:nvPr/>
        </p:nvGrpSpPr>
        <p:grpSpPr>
          <a:xfrm>
            <a:off x="558840" y="1388946"/>
            <a:ext cx="2854887" cy="4781131"/>
            <a:chOff x="558892" y="1388946"/>
            <a:chExt cx="2660879" cy="4781131"/>
          </a:xfrm>
        </p:grpSpPr>
        <p:sp>
          <p:nvSpPr>
            <p:cNvPr id="251" name="Rechteck 250"/>
            <p:cNvSpPr/>
            <p:nvPr/>
          </p:nvSpPr>
          <p:spPr bwMode="auto">
            <a:xfrm>
              <a:off x="558892" y="1388946"/>
              <a:ext cx="1357312" cy="1370437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US" sz="900" b="1" dirty="0" smtClean="0">
                  <a:solidFill>
                    <a:srgbClr val="FFFFFF"/>
                  </a:solidFill>
                </a:rPr>
                <a:t>Austria</a:t>
              </a:r>
              <a:endParaRPr lang="en-GB" sz="900" b="1" dirty="0" smtClean="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FFFFFF"/>
                  </a:solidFill>
                </a:rPr>
                <a:t>RCA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FFFFFF"/>
                  </a:solidFill>
                </a:rPr>
                <a:t>RCL-AT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FFFFFF"/>
                  </a:solidFill>
                </a:rPr>
                <a:t>RCL-MAC 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FFFFFF"/>
                  </a:solidFill>
                </a:rPr>
                <a:t>RCL-ES</a:t>
              </a:r>
              <a:br>
                <a:rPr lang="en-US" sz="900" dirty="0" smtClean="0">
                  <a:solidFill>
                    <a:srgbClr val="FFFFFF"/>
                  </a:solidFill>
                </a:rPr>
              </a:br>
              <a:r>
                <a:rPr lang="en-US" sz="900" dirty="0" smtClean="0">
                  <a:solidFill>
                    <a:srgbClr val="FFFFFF"/>
                  </a:solidFill>
                </a:rPr>
                <a:t>RCO-AT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FFFFFF"/>
                  </a:solidFill>
                </a:rPr>
                <a:t>RCW-AT 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FFFFFF"/>
                  </a:solidFill>
                </a:rPr>
                <a:t>ÖBB-TS</a:t>
              </a:r>
            </a:p>
            <a:p>
              <a:pPr marL="133350" lvl="1" indent="-133350"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en-GB" sz="900" dirty="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2" name="Rechteck 251"/>
            <p:cNvSpPr/>
            <p:nvPr/>
          </p:nvSpPr>
          <p:spPr bwMode="auto">
            <a:xfrm>
              <a:off x="1969123" y="1396470"/>
              <a:ext cx="1250648" cy="62729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900" b="1" dirty="0" smtClean="0">
                  <a:solidFill>
                    <a:srgbClr val="000000"/>
                  </a:solidFill>
                </a:rPr>
                <a:t>Croatia</a:t>
              </a:r>
              <a:endParaRPr lang="en-GB" sz="900" b="1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L-HR 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C-HR</a:t>
              </a: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133350" lvl="1" indent="-133350"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3" name="Rechteck 252"/>
            <p:cNvSpPr/>
            <p:nvPr/>
          </p:nvSpPr>
          <p:spPr bwMode="auto">
            <a:xfrm>
              <a:off x="558892" y="5073982"/>
              <a:ext cx="1357312" cy="109609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Italy</a:t>
              </a:r>
              <a:endParaRPr lang="en-GB" sz="9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chemeClr val="bg1"/>
                  </a:solidFill>
                </a:rPr>
                <a:t>RCL-IT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chemeClr val="bg1"/>
                  </a:solidFill>
                </a:rPr>
                <a:t>RCT-DES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chemeClr val="bg1"/>
                  </a:solidFill>
                </a:rPr>
                <a:t>RCT-STI</a:t>
              </a:r>
              <a:endParaRPr lang="en-GB" sz="90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>
                  <a:solidFill>
                    <a:schemeClr val="bg1"/>
                  </a:solidFill>
                </a:rPr>
                <a:t>RCC-IT</a:t>
              </a:r>
            </a:p>
          </p:txBody>
        </p:sp>
      </p:grpSp>
      <p:grpSp>
        <p:nvGrpSpPr>
          <p:cNvPr id="254" name="Gruppieren 253"/>
          <p:cNvGrpSpPr/>
          <p:nvPr/>
        </p:nvGrpSpPr>
        <p:grpSpPr>
          <a:xfrm>
            <a:off x="6314954" y="2559262"/>
            <a:ext cx="1516693" cy="3618334"/>
            <a:chOff x="6216044" y="2559262"/>
            <a:chExt cx="1357312" cy="3618334"/>
          </a:xfrm>
        </p:grpSpPr>
        <p:sp>
          <p:nvSpPr>
            <p:cNvPr id="255" name="Rechteck 254"/>
            <p:cNvSpPr/>
            <p:nvPr/>
          </p:nvSpPr>
          <p:spPr bwMode="auto">
            <a:xfrm>
              <a:off x="6216044" y="4171634"/>
              <a:ext cx="1357312" cy="634769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Romania</a:t>
              </a:r>
              <a:endParaRPr lang="en-GB" sz="900" b="1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L-RO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C-RO</a:t>
              </a: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133350" lvl="1" indent="-133350"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6" name="Rechteck 255"/>
            <p:cNvSpPr/>
            <p:nvPr/>
          </p:nvSpPr>
          <p:spPr bwMode="auto">
            <a:xfrm>
              <a:off x="6216044" y="4856161"/>
              <a:ext cx="1357312" cy="634769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en-US" sz="900" b="1" dirty="0" smtClean="0">
                  <a:solidFill>
                    <a:srgbClr val="000000"/>
                  </a:solidFill>
                </a:rPr>
                <a:t>Bulgaria</a:t>
              </a:r>
              <a:endParaRPr lang="en-GB" sz="900" b="1" dirty="0" smtClean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L-BG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C-BG</a:t>
              </a:r>
              <a:br>
                <a:rPr lang="en-US" sz="900" dirty="0" smtClean="0">
                  <a:solidFill>
                    <a:srgbClr val="000000"/>
                  </a:solidFill>
                </a:rPr>
              </a:br>
              <a:r>
                <a:rPr lang="en-US" sz="900" dirty="0" smtClean="0">
                  <a:solidFill>
                    <a:srgbClr val="000000"/>
                  </a:solidFill>
                </a:rPr>
                <a:t>RCA</a:t>
              </a:r>
            </a:p>
            <a:p>
              <a:pPr marL="133350" lvl="1" indent="-133350"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7" name="Rechteck 256"/>
            <p:cNvSpPr/>
            <p:nvPr/>
          </p:nvSpPr>
          <p:spPr bwMode="auto">
            <a:xfrm>
              <a:off x="6216044" y="3487107"/>
              <a:ext cx="1357312" cy="634769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900" b="1" dirty="0"/>
                <a:t>Russia</a:t>
              </a:r>
              <a:endParaRPr lang="en-GB" sz="900" b="1" dirty="0"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/>
                <a:t>RCL-RU</a:t>
              </a:r>
            </a:p>
            <a:p>
              <a:pPr marL="133350" lvl="1" indent="-133350"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8" name="Rechteck 257"/>
            <p:cNvSpPr/>
            <p:nvPr/>
          </p:nvSpPr>
          <p:spPr bwMode="auto">
            <a:xfrm>
              <a:off x="6216044" y="2559262"/>
              <a:ext cx="1357312" cy="878087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Slovakia</a:t>
              </a:r>
              <a:endParaRPr lang="en-GB" sz="900" b="1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L-CZ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O-CSKD</a:t>
              </a:r>
              <a:br>
                <a:rPr lang="en-US" sz="900" dirty="0" smtClean="0">
                  <a:solidFill>
                    <a:srgbClr val="000000"/>
                  </a:solidFill>
                </a:rPr>
              </a:br>
              <a:r>
                <a:rPr lang="en-US" sz="900" dirty="0" smtClean="0">
                  <a:solidFill>
                    <a:srgbClr val="000000"/>
                  </a:solidFill>
                </a:rPr>
                <a:t>RCC-SK</a:t>
              </a: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TS-SK</a:t>
              </a: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133350" lvl="1" indent="-133350">
                <a:buClr>
                  <a:srgbClr val="E2002A"/>
                </a:buClr>
                <a:buFont typeface="Wingdings" panose="05000000000000000000" pitchFamily="2" charset="2"/>
                <a:buChar char="§"/>
              </a:pP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9" name="Rechteck 258"/>
            <p:cNvSpPr/>
            <p:nvPr/>
          </p:nvSpPr>
          <p:spPr bwMode="auto">
            <a:xfrm>
              <a:off x="6216044" y="5542827"/>
              <a:ext cx="1357312" cy="634769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900" b="1" dirty="0">
                  <a:solidFill>
                    <a:srgbClr val="000000"/>
                  </a:solidFill>
                </a:rPr>
                <a:t>Greece</a:t>
              </a:r>
              <a:endParaRPr lang="en-GB" sz="900" b="1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  <a:p>
              <a:pPr marL="0" lvl="1" indent="0">
                <a:buClr>
                  <a:srgbClr val="E2002A"/>
                </a:buClr>
              </a:pPr>
              <a:r>
                <a:rPr lang="en-US" sz="900" dirty="0" smtClean="0">
                  <a:solidFill>
                    <a:srgbClr val="000000"/>
                  </a:solidFill>
                </a:rPr>
                <a:t>RCL Goldair</a:t>
              </a:r>
              <a:r>
                <a:rPr dirty="0"/>
                <a:t/>
              </a:r>
              <a:br>
                <a:rPr dirty="0"/>
              </a:br>
              <a:r>
                <a:rPr lang="en-US" sz="900" dirty="0" smtClean="0">
                  <a:solidFill>
                    <a:srgbClr val="000000"/>
                  </a:solidFill>
                </a:rPr>
                <a:t>RCT-SIN</a:t>
              </a:r>
              <a:endParaRPr lang="en-US" sz="900" dirty="0">
                <a:solidFill>
                  <a:srgbClr val="000000"/>
                </a:solidFill>
              </a:endParaRPr>
            </a:p>
            <a:p>
              <a:pPr marL="0" lvl="1" indent="0">
                <a:buClr>
                  <a:srgbClr val="E2002A"/>
                </a:buClr>
              </a:pPr>
              <a:endParaRPr lang="en-GB" sz="900" dirty="0">
                <a:solidFill>
                  <a:srgbClr val="000000"/>
                </a:solidFill>
                <a:ea typeface="ＭＳ Ｐゴシック" charset="-128"/>
                <a:cs typeface="ＭＳ Ｐゴシック" charset="-128"/>
              </a:endParaRPr>
            </a:p>
          </p:txBody>
        </p:sp>
      </p:grpSp>
      <p:sp>
        <p:nvSpPr>
          <p:cNvPr id="260" name="Rechteck 259"/>
          <p:cNvSpPr/>
          <p:nvPr/>
        </p:nvSpPr>
        <p:spPr bwMode="auto">
          <a:xfrm>
            <a:off x="555151" y="4090371"/>
            <a:ext cx="1456275" cy="937119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900" b="1" dirty="0">
                <a:solidFill>
                  <a:srgbClr val="FFFFFF"/>
                </a:solidFill>
              </a:rPr>
              <a:t>Germany</a:t>
            </a:r>
          </a:p>
          <a:p>
            <a:pPr marL="0" lvl="1" indent="0">
              <a:buClr>
                <a:srgbClr val="E2002A"/>
              </a:buClr>
            </a:pPr>
            <a:r>
              <a:rPr lang="en-US" sz="900" dirty="0" smtClean="0">
                <a:solidFill>
                  <a:srgbClr val="FFFFFF"/>
                </a:solidFill>
              </a:rPr>
              <a:t>RCL-DE</a:t>
            </a:r>
          </a:p>
          <a:p>
            <a:pPr marL="0" lvl="1" indent="0">
              <a:buClr>
                <a:srgbClr val="E2002A"/>
              </a:buClr>
            </a:pPr>
            <a:r>
              <a:rPr lang="en-US" sz="900" dirty="0" smtClean="0">
                <a:solidFill>
                  <a:srgbClr val="FFFFFF"/>
                </a:solidFill>
              </a:rPr>
              <a:t>RCO-DE</a:t>
            </a:r>
            <a:br>
              <a:rPr lang="en-US" sz="900" dirty="0" smtClean="0">
                <a:solidFill>
                  <a:srgbClr val="FFFFFF"/>
                </a:solidFill>
              </a:rPr>
            </a:br>
            <a:r>
              <a:rPr lang="en-US" sz="900" dirty="0" smtClean="0">
                <a:solidFill>
                  <a:srgbClr val="FFFFFF"/>
                </a:solidFill>
              </a:rPr>
              <a:t>RCC-DE</a:t>
            </a:r>
            <a:br>
              <a:rPr lang="en-US" sz="900" dirty="0" smtClean="0">
                <a:solidFill>
                  <a:srgbClr val="FFFFFF"/>
                </a:solidFill>
              </a:rPr>
            </a:br>
            <a:r>
              <a:rPr lang="en-US" sz="900" dirty="0" smtClean="0">
                <a:solidFill>
                  <a:srgbClr val="FFFFFF"/>
                </a:solidFill>
              </a:rPr>
              <a:t>RCC-PCT</a:t>
            </a:r>
            <a:br>
              <a:rPr lang="en-US" sz="900" dirty="0" smtClean="0">
                <a:solidFill>
                  <a:srgbClr val="FFFFFF"/>
                </a:solidFill>
              </a:rPr>
            </a:br>
            <a:r>
              <a:rPr lang="en-US" sz="900" dirty="0" smtClean="0">
                <a:solidFill>
                  <a:srgbClr val="FFFFFF"/>
                </a:solidFill>
              </a:rPr>
              <a:t>RCA</a:t>
            </a:r>
            <a:endParaRPr lang="en-GB" sz="900" dirty="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1" name="Rectangle 3"/>
          <p:cNvSpPr txBox="1">
            <a:spLocks noChangeArrowheads="1"/>
          </p:cNvSpPr>
          <p:nvPr/>
        </p:nvSpPr>
        <p:spPr bwMode="auto">
          <a:xfrm>
            <a:off x="8004542" y="4489664"/>
            <a:ext cx="1587500" cy="1695336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13200" indent="-313200" algn="l" defTabSz="931863" rtl="0" eaLnBrk="1" fontAlgn="base" hangingPunct="1">
              <a:spcBef>
                <a:spcPts val="925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1700">
                <a:solidFill>
                  <a:schemeClr val="tx1"/>
                </a:solidFill>
                <a:latin typeface="+mn-lt"/>
                <a:ea typeface="Geneva" charset="0"/>
                <a:cs typeface="Geneva" charset="0"/>
              </a:defRPr>
            </a:lvl1pPr>
            <a:lvl2pPr marL="260350" indent="-260350" algn="l" defTabSz="931863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 sz="1700">
                <a:solidFill>
                  <a:schemeClr val="tx1"/>
                </a:solidFill>
                <a:latin typeface="+mn-lt"/>
                <a:ea typeface="MS PGothic" charset="0"/>
                <a:cs typeface="MS PGothic" pitchFamily="34" charset="-128"/>
              </a:defRPr>
            </a:lvl2pPr>
            <a:lvl3pPr marL="560388" indent="-296863" algn="l" defTabSz="9318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charset="0"/>
              <a:buChar char="§"/>
              <a:defRPr sz="1500">
                <a:solidFill>
                  <a:schemeClr val="tx1"/>
                </a:solidFill>
                <a:latin typeface="+mn-lt"/>
                <a:ea typeface="MS PGothic" charset="0"/>
                <a:cs typeface="MS PGothic" pitchFamily="34" charset="-128"/>
              </a:defRPr>
            </a:lvl3pPr>
            <a:lvl4pPr marL="835025" indent="-279400" algn="l" defTabSz="93186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1300">
                <a:solidFill>
                  <a:schemeClr val="tx1"/>
                </a:solidFill>
                <a:latin typeface="+mn-lt"/>
                <a:ea typeface="MS PGothic" charset="0"/>
                <a:cs typeface="MS PGothic" pitchFamily="34" charset="-128"/>
              </a:defRPr>
            </a:lvl4pPr>
            <a:lvl5pPr marL="1123950" indent="-273050" algn="l" defTabSz="931863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09090"/>
              </a:buClr>
              <a:buSzPct val="100000"/>
              <a:buChar char="-"/>
              <a:defRPr sz="1100" b="0">
                <a:solidFill>
                  <a:schemeClr val="tx1"/>
                </a:solidFill>
                <a:latin typeface="+mn-lt"/>
                <a:ea typeface="MS PGothic" charset="0"/>
                <a:cs typeface="MS PGothic" pitchFamily="34" charset="-128"/>
              </a:defRPr>
            </a:lvl5pPr>
            <a:lvl6pPr marL="2521088" indent="-233299" algn="l" defTabSz="933196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  <a:ea typeface="+mn-ea"/>
              </a:defRPr>
            </a:lvl6pPr>
            <a:lvl7pPr marL="2941026" indent="-233299" algn="l" defTabSz="933196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  <a:ea typeface="+mn-ea"/>
              </a:defRPr>
            </a:lvl7pPr>
            <a:lvl8pPr marL="3360964" indent="-233299" algn="l" defTabSz="933196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  <a:ea typeface="+mn-ea"/>
              </a:defRPr>
            </a:lvl8pPr>
            <a:lvl9pPr marL="3780902" indent="-233299" algn="l" defTabSz="933196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7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L …   Rail Cargo </a:t>
            </a:r>
            <a:r>
              <a:rPr lang="de-DE" sz="900" kern="0" dirty="0" err="1" smtClean="0">
                <a:solidFill>
                  <a:srgbClr val="000000"/>
                </a:solidFill>
              </a:rPr>
              <a:t>Logistics</a:t>
            </a:r>
            <a:endParaRPr lang="de-DE" sz="900" kern="0" dirty="0" smtClean="0">
              <a:solidFill>
                <a:srgbClr val="000000"/>
              </a:solidFill>
            </a:endParaRP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O …  Rail Cargo Operator</a:t>
            </a: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T …   Rail Cargo Terminal</a:t>
            </a: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C …   Rail Cargo Carrier</a:t>
            </a: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W …  Rail Cargo Wagon</a:t>
            </a: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A …   Rail Cargo Austria</a:t>
            </a: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RCH …   Rail Cargo Hungaria</a:t>
            </a:r>
          </a:p>
          <a:p>
            <a:pPr marL="0" lvl="1" indent="0">
              <a:spcBef>
                <a:spcPts val="500"/>
              </a:spcBef>
              <a:buClr>
                <a:srgbClr val="E2002A"/>
              </a:buClr>
              <a:buNone/>
            </a:pPr>
            <a:r>
              <a:rPr lang="de-DE" sz="900" kern="0" dirty="0" smtClean="0">
                <a:solidFill>
                  <a:srgbClr val="000000"/>
                </a:solidFill>
              </a:rPr>
              <a:t>ÖBB-TS ... ÖBB-Technische</a:t>
            </a:r>
            <a:br>
              <a:rPr lang="de-DE" sz="900" kern="0" dirty="0" smtClean="0">
                <a:solidFill>
                  <a:srgbClr val="000000"/>
                </a:solidFill>
              </a:rPr>
            </a:br>
            <a:r>
              <a:rPr lang="de-DE" sz="900" kern="0" dirty="0" smtClean="0">
                <a:solidFill>
                  <a:srgbClr val="000000"/>
                </a:solidFill>
              </a:rPr>
              <a:t>                  Services</a:t>
            </a:r>
            <a:endParaRPr lang="en-GB" sz="900" kern="0" dirty="0">
              <a:solidFill>
                <a:srgbClr val="000000"/>
              </a:solidFill>
            </a:endParaRPr>
          </a:p>
        </p:txBody>
      </p:sp>
      <p:sp>
        <p:nvSpPr>
          <p:cNvPr id="262" name="Freeform 820"/>
          <p:cNvSpPr>
            <a:spLocks/>
          </p:cNvSpPr>
          <p:nvPr/>
        </p:nvSpPr>
        <p:spPr bwMode="auto">
          <a:xfrm>
            <a:off x="2908465" y="3765189"/>
            <a:ext cx="1144758" cy="472994"/>
          </a:xfrm>
          <a:custGeom>
            <a:avLst/>
            <a:gdLst>
              <a:gd name="T0" fmla="*/ 187 w 191"/>
              <a:gd name="T1" fmla="*/ 16 h 94"/>
              <a:gd name="T2" fmla="*/ 191 w 191"/>
              <a:gd name="T3" fmla="*/ 41 h 94"/>
              <a:gd name="T4" fmla="*/ 180 w 191"/>
              <a:gd name="T5" fmla="*/ 56 h 94"/>
              <a:gd name="T6" fmla="*/ 169 w 191"/>
              <a:gd name="T7" fmla="*/ 80 h 94"/>
              <a:gd name="T8" fmla="*/ 157 w 191"/>
              <a:gd name="T9" fmla="*/ 82 h 94"/>
              <a:gd name="T10" fmla="*/ 131 w 191"/>
              <a:gd name="T11" fmla="*/ 85 h 94"/>
              <a:gd name="T12" fmla="*/ 119 w 191"/>
              <a:gd name="T13" fmla="*/ 92 h 94"/>
              <a:gd name="T14" fmla="*/ 103 w 191"/>
              <a:gd name="T15" fmla="*/ 90 h 94"/>
              <a:gd name="T16" fmla="*/ 99 w 191"/>
              <a:gd name="T17" fmla="*/ 91 h 94"/>
              <a:gd name="T18" fmla="*/ 91 w 191"/>
              <a:gd name="T19" fmla="*/ 86 h 94"/>
              <a:gd name="T20" fmla="*/ 70 w 191"/>
              <a:gd name="T21" fmla="*/ 78 h 94"/>
              <a:gd name="T22" fmla="*/ 64 w 191"/>
              <a:gd name="T23" fmla="*/ 66 h 94"/>
              <a:gd name="T24" fmla="*/ 46 w 191"/>
              <a:gd name="T25" fmla="*/ 65 h 94"/>
              <a:gd name="T26" fmla="*/ 34 w 191"/>
              <a:gd name="T27" fmla="*/ 72 h 94"/>
              <a:gd name="T28" fmla="*/ 23 w 191"/>
              <a:gd name="T29" fmla="*/ 68 h 94"/>
              <a:gd name="T30" fmla="*/ 22 w 191"/>
              <a:gd name="T31" fmla="*/ 64 h 94"/>
              <a:gd name="T32" fmla="*/ 8 w 191"/>
              <a:gd name="T33" fmla="*/ 64 h 94"/>
              <a:gd name="T34" fmla="*/ 0 w 191"/>
              <a:gd name="T35" fmla="*/ 54 h 94"/>
              <a:gd name="T36" fmla="*/ 3 w 191"/>
              <a:gd name="T37" fmla="*/ 44 h 94"/>
              <a:gd name="T38" fmla="*/ 11 w 191"/>
              <a:gd name="T39" fmla="*/ 38 h 94"/>
              <a:gd name="T40" fmla="*/ 21 w 191"/>
              <a:gd name="T41" fmla="*/ 49 h 94"/>
              <a:gd name="T42" fmla="*/ 32 w 191"/>
              <a:gd name="T43" fmla="*/ 44 h 94"/>
              <a:gd name="T44" fmla="*/ 48 w 191"/>
              <a:gd name="T45" fmla="*/ 48 h 94"/>
              <a:gd name="T46" fmla="*/ 70 w 191"/>
              <a:gd name="T47" fmla="*/ 43 h 94"/>
              <a:gd name="T48" fmla="*/ 84 w 191"/>
              <a:gd name="T49" fmla="*/ 51 h 94"/>
              <a:gd name="T50" fmla="*/ 94 w 191"/>
              <a:gd name="T51" fmla="*/ 51 h 94"/>
              <a:gd name="T52" fmla="*/ 92 w 191"/>
              <a:gd name="T53" fmla="*/ 36 h 94"/>
              <a:gd name="T54" fmla="*/ 86 w 191"/>
              <a:gd name="T55" fmla="*/ 26 h 94"/>
              <a:gd name="T56" fmla="*/ 114 w 191"/>
              <a:gd name="T57" fmla="*/ 9 h 94"/>
              <a:gd name="T58" fmla="*/ 131 w 191"/>
              <a:gd name="T59" fmla="*/ 14 h 94"/>
              <a:gd name="T60" fmla="*/ 144 w 191"/>
              <a:gd name="T61" fmla="*/ 0 h 94"/>
              <a:gd name="T62" fmla="*/ 187 w 191"/>
              <a:gd name="T63" fmla="*/ 12 h 94"/>
              <a:gd name="T64" fmla="*/ 187 w 191"/>
              <a:gd name="T65" fmla="*/ 12 h 94"/>
              <a:gd name="T66" fmla="*/ 187 w 191"/>
              <a:gd name="T67" fmla="*/ 16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1" h="94">
                <a:moveTo>
                  <a:pt x="187" y="16"/>
                </a:moveTo>
                <a:cubicBezTo>
                  <a:pt x="187" y="18"/>
                  <a:pt x="191" y="35"/>
                  <a:pt x="191" y="41"/>
                </a:cubicBezTo>
                <a:cubicBezTo>
                  <a:pt x="191" y="47"/>
                  <a:pt x="184" y="51"/>
                  <a:pt x="180" y="56"/>
                </a:cubicBezTo>
                <a:cubicBezTo>
                  <a:pt x="176" y="62"/>
                  <a:pt x="171" y="72"/>
                  <a:pt x="169" y="80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51" y="81"/>
                  <a:pt x="136" y="82"/>
                  <a:pt x="131" y="85"/>
                </a:cubicBezTo>
                <a:cubicBezTo>
                  <a:pt x="127" y="88"/>
                  <a:pt x="123" y="94"/>
                  <a:pt x="119" y="92"/>
                </a:cubicBezTo>
                <a:cubicBezTo>
                  <a:pt x="114" y="89"/>
                  <a:pt x="108" y="88"/>
                  <a:pt x="103" y="90"/>
                </a:cubicBezTo>
                <a:cubicBezTo>
                  <a:pt x="101" y="90"/>
                  <a:pt x="100" y="90"/>
                  <a:pt x="99" y="91"/>
                </a:cubicBezTo>
                <a:cubicBezTo>
                  <a:pt x="91" y="86"/>
                  <a:pt x="91" y="86"/>
                  <a:pt x="91" y="86"/>
                </a:cubicBezTo>
                <a:cubicBezTo>
                  <a:pt x="91" y="86"/>
                  <a:pt x="75" y="79"/>
                  <a:pt x="70" y="78"/>
                </a:cubicBezTo>
                <a:cubicBezTo>
                  <a:pt x="65" y="76"/>
                  <a:pt x="68" y="66"/>
                  <a:pt x="64" y="66"/>
                </a:cubicBezTo>
                <a:cubicBezTo>
                  <a:pt x="61" y="65"/>
                  <a:pt x="46" y="65"/>
                  <a:pt x="46" y="65"/>
                </a:cubicBezTo>
                <a:cubicBezTo>
                  <a:pt x="46" y="65"/>
                  <a:pt x="37" y="73"/>
                  <a:pt x="34" y="72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6"/>
                  <a:pt x="23" y="65"/>
                  <a:pt x="22" y="64"/>
                </a:cubicBezTo>
                <a:cubicBezTo>
                  <a:pt x="20" y="62"/>
                  <a:pt x="13" y="66"/>
                  <a:pt x="8" y="64"/>
                </a:cubicBezTo>
                <a:cubicBezTo>
                  <a:pt x="4" y="61"/>
                  <a:pt x="0" y="60"/>
                  <a:pt x="0" y="54"/>
                </a:cubicBezTo>
                <a:cubicBezTo>
                  <a:pt x="1" y="49"/>
                  <a:pt x="4" y="46"/>
                  <a:pt x="3" y="44"/>
                </a:cubicBezTo>
                <a:cubicBezTo>
                  <a:pt x="11" y="38"/>
                  <a:pt x="11" y="38"/>
                  <a:pt x="11" y="38"/>
                </a:cubicBezTo>
                <a:cubicBezTo>
                  <a:pt x="14" y="39"/>
                  <a:pt x="16" y="49"/>
                  <a:pt x="21" y="49"/>
                </a:cubicBezTo>
                <a:cubicBezTo>
                  <a:pt x="26" y="49"/>
                  <a:pt x="28" y="43"/>
                  <a:pt x="32" y="44"/>
                </a:cubicBezTo>
                <a:cubicBezTo>
                  <a:pt x="36" y="44"/>
                  <a:pt x="44" y="49"/>
                  <a:pt x="48" y="48"/>
                </a:cubicBezTo>
                <a:cubicBezTo>
                  <a:pt x="51" y="46"/>
                  <a:pt x="66" y="43"/>
                  <a:pt x="70" y="43"/>
                </a:cubicBezTo>
                <a:cubicBezTo>
                  <a:pt x="75" y="43"/>
                  <a:pt x="80" y="50"/>
                  <a:pt x="84" y="51"/>
                </a:cubicBezTo>
                <a:cubicBezTo>
                  <a:pt x="88" y="52"/>
                  <a:pt x="92" y="53"/>
                  <a:pt x="94" y="51"/>
                </a:cubicBezTo>
                <a:cubicBezTo>
                  <a:pt x="94" y="48"/>
                  <a:pt x="94" y="39"/>
                  <a:pt x="92" y="36"/>
                </a:cubicBezTo>
                <a:cubicBezTo>
                  <a:pt x="90" y="33"/>
                  <a:pt x="84" y="27"/>
                  <a:pt x="86" y="26"/>
                </a:cubicBezTo>
                <a:cubicBezTo>
                  <a:pt x="88" y="26"/>
                  <a:pt x="110" y="10"/>
                  <a:pt x="114" y="9"/>
                </a:cubicBezTo>
                <a:cubicBezTo>
                  <a:pt x="116" y="8"/>
                  <a:pt x="126" y="16"/>
                  <a:pt x="131" y="14"/>
                </a:cubicBezTo>
                <a:cubicBezTo>
                  <a:pt x="136" y="13"/>
                  <a:pt x="141" y="1"/>
                  <a:pt x="144" y="0"/>
                </a:cubicBezTo>
                <a:cubicBezTo>
                  <a:pt x="147" y="0"/>
                  <a:pt x="182" y="12"/>
                  <a:pt x="187" y="12"/>
                </a:cubicBezTo>
                <a:cubicBezTo>
                  <a:pt x="187" y="12"/>
                  <a:pt x="187" y="12"/>
                  <a:pt x="187" y="12"/>
                </a:cubicBezTo>
                <a:lnTo>
                  <a:pt x="187" y="16"/>
                </a:lnTo>
                <a:close/>
              </a:path>
            </a:pathLst>
          </a:cu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263" name="Titel 1"/>
          <p:cNvSpPr txBox="1">
            <a:spLocks/>
          </p:cNvSpPr>
          <p:nvPr/>
        </p:nvSpPr>
        <p:spPr bwMode="auto">
          <a:xfrm>
            <a:off x="3413728" y="4006819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FFFFFF"/>
                </a:solidFill>
              </a:rPr>
              <a:t>Austria</a:t>
            </a:r>
            <a:endParaRPr lang="en-GB" sz="500" b="0" kern="0" dirty="0">
              <a:solidFill>
                <a:srgbClr val="FFFFFF"/>
              </a:solidFill>
            </a:endParaRPr>
          </a:p>
        </p:txBody>
      </p:sp>
      <p:sp>
        <p:nvSpPr>
          <p:cNvPr id="264" name="Titel 1"/>
          <p:cNvSpPr txBox="1">
            <a:spLocks/>
          </p:cNvSpPr>
          <p:nvPr/>
        </p:nvSpPr>
        <p:spPr bwMode="auto">
          <a:xfrm>
            <a:off x="3665605" y="3882438"/>
            <a:ext cx="375939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US" sz="500" b="0" kern="0" dirty="0" smtClean="0">
                <a:solidFill>
                  <a:srgbClr val="FFFFFF"/>
                </a:solidFill>
              </a:rPr>
              <a:t>Vienna</a:t>
            </a:r>
          </a:p>
        </p:txBody>
      </p:sp>
      <p:sp>
        <p:nvSpPr>
          <p:cNvPr id="265" name="Ellipse 264"/>
          <p:cNvSpPr/>
          <p:nvPr/>
        </p:nvSpPr>
        <p:spPr bwMode="auto">
          <a:xfrm>
            <a:off x="3878301" y="3904912"/>
            <a:ext cx="47846" cy="4963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6" name="Rechteck 265"/>
          <p:cNvSpPr/>
          <p:nvPr/>
        </p:nvSpPr>
        <p:spPr bwMode="auto">
          <a:xfrm>
            <a:off x="3489708" y="5542827"/>
            <a:ext cx="2770947" cy="63476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en-US" sz="900" b="1" dirty="0" smtClean="0">
                <a:solidFill>
                  <a:srgbClr val="000000"/>
                </a:solidFill>
              </a:rPr>
              <a:t>Bosnia-Herzegovina</a:t>
            </a:r>
            <a:endParaRPr lang="en-GB" sz="900" b="1" dirty="0" smtClean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  <a:p>
            <a:pPr marL="0" lvl="1" indent="0">
              <a:buClr>
                <a:srgbClr val="E2002A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RCL-BH</a:t>
            </a:r>
          </a:p>
          <a:p>
            <a:pPr marL="133350" lvl="1" indent="-133350">
              <a:buClr>
                <a:srgbClr val="E2002A"/>
              </a:buClr>
              <a:buFont typeface="Wingdings" panose="05000000000000000000" pitchFamily="2" charset="2"/>
              <a:buChar char="§"/>
            </a:pPr>
            <a:endParaRPr lang="en-GB" sz="9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7" name="Titel 1"/>
          <p:cNvSpPr txBox="1">
            <a:spLocks/>
          </p:cNvSpPr>
          <p:nvPr/>
        </p:nvSpPr>
        <p:spPr bwMode="auto">
          <a:xfrm>
            <a:off x="5736224" y="5361247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chemeClr val="bg1"/>
                </a:solidFill>
              </a:rPr>
              <a:t>Turkey</a:t>
            </a:r>
            <a:endParaRPr lang="en-GB" sz="500" b="0" kern="0" dirty="0">
              <a:solidFill>
                <a:schemeClr val="bg1"/>
              </a:solidFill>
            </a:endParaRPr>
          </a:p>
        </p:txBody>
      </p:sp>
      <p:sp>
        <p:nvSpPr>
          <p:cNvPr id="268" name="Titel 1"/>
          <p:cNvSpPr txBox="1">
            <a:spLocks/>
          </p:cNvSpPr>
          <p:nvPr/>
        </p:nvSpPr>
        <p:spPr bwMode="auto">
          <a:xfrm>
            <a:off x="4789594" y="5235624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chemeClr val="bg2">
                    <a:lumMod val="75000"/>
                  </a:schemeClr>
                </a:solidFill>
              </a:rPr>
              <a:t>Greece</a:t>
            </a:r>
            <a:endParaRPr lang="en-GB" sz="500" b="0" kern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69" name="Rechteck 268"/>
          <p:cNvSpPr/>
          <p:nvPr/>
        </p:nvSpPr>
        <p:spPr bwMode="auto">
          <a:xfrm>
            <a:off x="555152" y="2811448"/>
            <a:ext cx="1456275" cy="1236499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de-AT" sz="900" b="1" dirty="0" err="1" smtClean="0">
                <a:solidFill>
                  <a:srgbClr val="FFFFFF"/>
                </a:solidFill>
              </a:rPr>
              <a:t>Hungary</a:t>
            </a:r>
            <a:endParaRPr lang="en-GB" sz="900" b="1" dirty="0" smtClean="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  <a:p>
            <a:r>
              <a:rPr lang="en-US" sz="900" dirty="0">
                <a:solidFill>
                  <a:srgbClr val="FFFFFF"/>
                </a:solidFill>
              </a:rPr>
              <a:t>RCH</a:t>
            </a:r>
          </a:p>
          <a:p>
            <a:r>
              <a:rPr lang="en-US" sz="900" dirty="0">
                <a:solidFill>
                  <a:srgbClr val="FFFFFF"/>
                </a:solidFill>
              </a:rPr>
              <a:t>RCC</a:t>
            </a:r>
          </a:p>
          <a:p>
            <a:r>
              <a:rPr lang="en-US" sz="900" dirty="0">
                <a:solidFill>
                  <a:srgbClr val="FFFFFF"/>
                </a:solidFill>
              </a:rPr>
              <a:t>RCL-HU</a:t>
            </a:r>
          </a:p>
          <a:p>
            <a:r>
              <a:rPr lang="en-US" sz="900" dirty="0">
                <a:solidFill>
                  <a:srgbClr val="FFFFFF"/>
                </a:solidFill>
              </a:rPr>
              <a:t>RCO-HU  </a:t>
            </a:r>
            <a:endParaRPr lang="en-GB" sz="900" dirty="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  <a:p>
            <a:r>
              <a:rPr lang="en-US" sz="900" dirty="0">
                <a:solidFill>
                  <a:srgbClr val="FFFFFF"/>
                </a:solidFill>
              </a:rPr>
              <a:t>RCT-BIL </a:t>
            </a:r>
          </a:p>
          <a:p>
            <a:r>
              <a:rPr lang="en-US" sz="900" dirty="0">
                <a:solidFill>
                  <a:srgbClr val="FFFFFF"/>
                </a:solidFill>
              </a:rPr>
              <a:t>TS-MAV </a:t>
            </a:r>
          </a:p>
          <a:p>
            <a:r>
              <a:rPr lang="en-US" sz="900" dirty="0">
                <a:solidFill>
                  <a:srgbClr val="FFFFFF"/>
                </a:solidFill>
              </a:rPr>
              <a:t>TS-HU</a:t>
            </a:r>
          </a:p>
          <a:p>
            <a:pPr marL="133350" lvl="1" indent="-133350">
              <a:buClr>
                <a:srgbClr val="E2002A"/>
              </a:buClr>
              <a:buFont typeface="Wingdings" panose="05000000000000000000" pitchFamily="2" charset="2"/>
              <a:buChar char="§"/>
            </a:pPr>
            <a:endParaRPr lang="en-GB" sz="900" dirty="0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0" name="Rechteck 269"/>
          <p:cNvSpPr/>
          <p:nvPr/>
        </p:nvSpPr>
        <p:spPr bwMode="auto">
          <a:xfrm>
            <a:off x="6314953" y="1386000"/>
            <a:ext cx="1516693" cy="1108376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900" b="1" dirty="0" smtClean="0">
                <a:solidFill>
                  <a:srgbClr val="FFFFFF"/>
                </a:solidFill>
              </a:rPr>
              <a:t>Czech Republic</a:t>
            </a:r>
            <a:endParaRPr lang="en-US" sz="900" b="1" dirty="0">
              <a:solidFill>
                <a:srgbClr val="FFFFFF"/>
              </a:solidFill>
            </a:endParaRPr>
          </a:p>
          <a:p>
            <a:r>
              <a:rPr lang="en-US" sz="900" dirty="0">
                <a:solidFill>
                  <a:schemeClr val="bg1"/>
                </a:solidFill>
              </a:rPr>
              <a:t>RCL-CZ</a:t>
            </a:r>
            <a:r>
              <a:rPr lang="en-US" dirty="0"/>
              <a:t/>
            </a:r>
            <a:br>
              <a:rPr lang="en-US" dirty="0"/>
            </a:br>
            <a:r>
              <a:rPr lang="en-US" sz="900" dirty="0">
                <a:solidFill>
                  <a:schemeClr val="bg1"/>
                </a:solidFill>
              </a:rPr>
              <a:t>RCL </a:t>
            </a:r>
            <a:r>
              <a:rPr lang="en-US" sz="900" dirty="0" err="1">
                <a:solidFill>
                  <a:schemeClr val="bg1"/>
                </a:solidFill>
              </a:rPr>
              <a:t>s.r.o</a:t>
            </a:r>
            <a:r>
              <a:rPr lang="en-US" sz="900" dirty="0">
                <a:solidFill>
                  <a:schemeClr val="bg1"/>
                </a:solidFill>
              </a:rPr>
              <a:t>.</a:t>
            </a:r>
          </a:p>
          <a:p>
            <a:r>
              <a:rPr lang="en-US" sz="900" dirty="0">
                <a:solidFill>
                  <a:schemeClr val="bg1"/>
                </a:solidFill>
              </a:rPr>
              <a:t>RCO-CSKD</a:t>
            </a:r>
          </a:p>
          <a:p>
            <a:r>
              <a:rPr lang="en-US" sz="900" dirty="0">
                <a:solidFill>
                  <a:schemeClr val="bg1"/>
                </a:solidFill>
              </a:rPr>
              <a:t>RCT-PRG</a:t>
            </a:r>
          </a:p>
          <a:p>
            <a:r>
              <a:rPr lang="en-US" sz="900" dirty="0" smtClean="0">
                <a:solidFill>
                  <a:schemeClr val="bg1"/>
                </a:solidFill>
              </a:rPr>
              <a:t>RCC-CZ</a:t>
            </a:r>
            <a:br>
              <a:rPr lang="en-US" sz="900" dirty="0" smtClean="0">
                <a:solidFill>
                  <a:schemeClr val="bg1"/>
                </a:solidFill>
              </a:rPr>
            </a:br>
            <a:r>
              <a:rPr lang="en-US" sz="900" dirty="0" smtClean="0">
                <a:solidFill>
                  <a:schemeClr val="bg1"/>
                </a:solidFill>
              </a:rPr>
              <a:t>RCA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71" name="Ellipse 270"/>
          <p:cNvSpPr/>
          <p:nvPr/>
        </p:nvSpPr>
        <p:spPr bwMode="auto">
          <a:xfrm>
            <a:off x="3278531" y="5048245"/>
            <a:ext cx="47846" cy="4963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2" name="Titel 1"/>
          <p:cNvSpPr txBox="1">
            <a:spLocks/>
          </p:cNvSpPr>
          <p:nvPr/>
        </p:nvSpPr>
        <p:spPr bwMode="auto">
          <a:xfrm>
            <a:off x="5620809" y="2187936"/>
            <a:ext cx="558881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:mc="http://schemas.openxmlformats.org/markup-compatibility/2006"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+mj-lt"/>
                <a:ea typeface="Geneva" charset="0"/>
                <a:cs typeface="Geneva" charset="0"/>
              </a:defRPr>
            </a:lvl1pPr>
            <a:lvl2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2pPr>
            <a:lvl3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3pPr>
            <a:lvl4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4pPr>
            <a:lvl5pPr algn="l" defTabSz="931863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bg2"/>
                </a:solidFill>
                <a:latin typeface="Arial" charset="0"/>
                <a:ea typeface="Geneva" charset="0"/>
                <a:cs typeface="Geneva" charset="0"/>
              </a:defRPr>
            </a:lvl5pPr>
            <a:lvl6pPr marL="419938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839876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259815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679753" algn="l" defTabSz="933196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bg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US" sz="500" b="0" kern="0" dirty="0" smtClean="0">
                <a:solidFill>
                  <a:srgbClr val="7D7D7D"/>
                </a:solidFill>
              </a:rPr>
              <a:t>Russia</a:t>
            </a:r>
            <a:endParaRPr lang="en-GB" sz="500" b="0" kern="0" dirty="0">
              <a:solidFill>
                <a:srgbClr val="7D7D7D"/>
              </a:solidFill>
            </a:endParaRPr>
          </a:p>
        </p:txBody>
      </p:sp>
      <p:sp>
        <p:nvSpPr>
          <p:cNvPr id="273" name="Ellipse 272"/>
          <p:cNvSpPr/>
          <p:nvPr/>
        </p:nvSpPr>
        <p:spPr bwMode="auto">
          <a:xfrm>
            <a:off x="3663101" y="3527057"/>
            <a:ext cx="47846" cy="4963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0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3970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85" name="Picture 1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12" t="8411" r="20641" b="10248"/>
          <a:stretch/>
        </p:blipFill>
        <p:spPr bwMode="auto">
          <a:xfrm>
            <a:off x="589972" y="1366294"/>
            <a:ext cx="5972314" cy="4636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15" name="Objekt 2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625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Foliennummernplatzhalter 7"/>
          <p:cNvSpPr>
            <a:spLocks noGrp="1"/>
          </p:cNvSpPr>
          <p:nvPr>
            <p:ph type="sldNum" sz="quarter" idx="16"/>
          </p:nvPr>
        </p:nvSpPr>
        <p:spPr>
          <a:xfrm>
            <a:off x="9023350" y="6430963"/>
            <a:ext cx="388938" cy="2635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1pPr>
            <a:lvl2pPr marL="37931725" indent="-37474525"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2pPr>
            <a:lvl3pPr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3pPr>
            <a:lvl4pPr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4pPr>
            <a:lvl5pPr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charset="0"/>
                <a:ea typeface="Geneva" charset="0"/>
              </a:defRPr>
            </a:lvl9pPr>
          </a:lstStyle>
          <a:p>
            <a:pPr algn="r" rtl="0"/>
            <a:fld id="{795314F0-5E1D-ED41-9178-10461A55D375}" type="slidenum">
              <a:rPr sz="900">
                <a:ea typeface="MS PGothic" charset="0"/>
                <a:cs typeface="MS PGothic" charset="0"/>
              </a:rPr>
              <a:pPr algn="r" rtl="0"/>
              <a:t>4</a:t>
            </a:fld>
            <a:endParaRPr lang="en" sz="900">
              <a:ea typeface="MS PGothic" charset="0"/>
              <a:cs typeface="MS PGothic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58225" y="1585787"/>
            <a:ext cx="899602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rtl="0">
              <a:spcBef>
                <a:spcPts val="1200"/>
              </a:spcBef>
            </a:pPr>
            <a:r>
              <a:rPr lang="en" sz="1800" b="0" i="1" u="none">
                <a:solidFill>
                  <a:srgbClr val="0070C0"/>
                </a:solidFill>
              </a:rPr>
              <a:t>North Sea</a:t>
            </a:r>
            <a:endParaRPr lang="en" sz="1800" i="1" dirty="0">
              <a:solidFill>
                <a:srgbClr val="0070C0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5386956" y="4410330"/>
            <a:ext cx="1436291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rtl="0">
              <a:spcBef>
                <a:spcPts val="1200"/>
              </a:spcBef>
            </a:pPr>
            <a:r>
              <a:rPr lang="en" sz="1800" b="0" i="1" u="none">
                <a:solidFill>
                  <a:srgbClr val="0070C0"/>
                </a:solidFill>
              </a:rPr>
              <a:t>Black Sea</a:t>
            </a:r>
            <a:endParaRPr lang="en" sz="1800" i="1" dirty="0">
              <a:solidFill>
                <a:srgbClr val="0070C0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501747" y="5625332"/>
            <a:ext cx="1590179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rtl="0">
              <a:spcBef>
                <a:spcPts val="1200"/>
              </a:spcBef>
            </a:pPr>
            <a:r>
              <a:rPr lang="en" sz="1800" b="0" i="1" u="none">
                <a:solidFill>
                  <a:srgbClr val="0070C0"/>
                </a:solidFill>
              </a:rPr>
              <a:t>Mediterranean</a:t>
            </a:r>
            <a:endParaRPr lang="en" sz="1800" i="1" dirty="0">
              <a:solidFill>
                <a:srgbClr val="0070C0"/>
              </a:solidFill>
            </a:endParaRPr>
          </a:p>
        </p:txBody>
      </p:sp>
      <p:sp>
        <p:nvSpPr>
          <p:cNvPr id="20" name="Textfeld 123"/>
          <p:cNvSpPr txBox="1"/>
          <p:nvPr/>
        </p:nvSpPr>
        <p:spPr>
          <a:xfrm>
            <a:off x="6704855" y="1520195"/>
            <a:ext cx="3201145" cy="1707891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AT" sz="1800" b="1" dirty="0" err="1">
                <a:solidFill>
                  <a:srgbClr val="000000"/>
                </a:solidFill>
              </a:rPr>
              <a:t>Rail</a:t>
            </a:r>
            <a:r>
              <a:rPr lang="de-AT" sz="1800" b="1" dirty="0">
                <a:solidFill>
                  <a:srgbClr val="000000"/>
                </a:solidFill>
              </a:rPr>
              <a:t> Cargo Group</a:t>
            </a:r>
            <a:endParaRPr lang="de-AT" sz="1800" dirty="0">
              <a:solidFill>
                <a:srgbClr val="000000"/>
              </a:solidFill>
            </a:endParaRPr>
          </a:p>
          <a:p>
            <a:pPr marL="341729" lvl="0" indent="-341729" fontAlgn="auto">
              <a:spcBef>
                <a:spcPts val="1200"/>
              </a:spcBef>
              <a:spcAft>
                <a:spcPts val="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n" sz="1800" b="1" kern="0" dirty="0" smtClean="0">
                <a:solidFill>
                  <a:srgbClr val="000000"/>
                </a:solidFill>
                <a:latin typeface="Arial"/>
                <a:ea typeface="ＭＳ Ｐゴシック"/>
              </a:rPr>
              <a:t>1</a:t>
            </a:r>
            <a:r>
              <a:rPr lang="hu-HU" sz="1800" b="1" kern="0" dirty="0" smtClean="0">
                <a:solidFill>
                  <a:srgbClr val="000000"/>
                </a:solidFill>
                <a:latin typeface="Arial"/>
                <a:ea typeface="ＭＳ Ｐゴシック"/>
              </a:rPr>
              <a:t>8</a:t>
            </a:r>
            <a:r>
              <a:rPr lang="en" sz="1800" b="1" kern="0" dirty="0" smtClean="0">
                <a:solidFill>
                  <a:srgbClr val="000000"/>
                </a:solidFill>
                <a:latin typeface="Arial"/>
                <a:ea typeface="ＭＳ Ｐゴシック"/>
              </a:rPr>
              <a:t> </a:t>
            </a:r>
            <a:r>
              <a:rPr lang="en" sz="1800" b="1" kern="0" dirty="0">
                <a:solidFill>
                  <a:srgbClr val="000000"/>
                </a:solidFill>
                <a:latin typeface="Arial"/>
                <a:ea typeface="ＭＳ Ｐゴシック"/>
              </a:rPr>
              <a:t>countries </a:t>
            </a:r>
            <a:r>
              <a:rPr lang="en" sz="1800" kern="0" dirty="0">
                <a:solidFill>
                  <a:srgbClr val="000000"/>
                </a:solidFill>
                <a:latin typeface="Arial"/>
                <a:ea typeface="ＭＳ Ｐゴシック"/>
              </a:rPr>
              <a:t>between the North Sea, the Black Sea and the Mediterranean</a:t>
            </a:r>
          </a:p>
          <a:p>
            <a:pPr marL="341912" indent="-341912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en" sz="1800" b="1" dirty="0" smtClean="0"/>
              <a:t>5 </a:t>
            </a:r>
            <a:r>
              <a:rPr lang="en" sz="1800" b="1" dirty="0"/>
              <a:t>rail </a:t>
            </a:r>
            <a:r>
              <a:rPr lang="en" sz="1800" b="1" dirty="0" smtClean="0"/>
              <a:t>businesses</a:t>
            </a:r>
            <a:endParaRPr lang="en" sz="1800" dirty="0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900" b="0" kern="1200" dirty="0" smtClean="0">
                <a:latin typeface="Arial" panose="020B0604020202020204" pitchFamily="34" charset="0"/>
                <a:cs typeface="Arial" panose="020B0604020202020204" pitchFamily="34" charset="0"/>
              </a:rPr>
              <a:t>Rail Cargo Group: Your partner in Europe</a:t>
            </a:r>
            <a:endParaRPr lang="en-US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églalap 4"/>
          <p:cNvSpPr/>
          <p:nvPr/>
        </p:nvSpPr>
        <p:spPr>
          <a:xfrm>
            <a:off x="2476500" y="3044280"/>
            <a:ext cx="4953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6964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6000"/>
    </mc:Choice>
    <mc:Fallback xmlns="">
      <p:transition advClick="0" advTm="6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275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976" y="1293080"/>
            <a:ext cx="6288024" cy="5068440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560550" y="1599398"/>
            <a:ext cx="8583449" cy="4762122"/>
          </a:xfrm>
        </p:spPr>
        <p:txBody>
          <a:bodyPr>
            <a:normAutofit fontScale="92500" lnSpcReduction="20000"/>
          </a:bodyPr>
          <a:lstStyle/>
          <a:p>
            <a:pPr lvl="1">
              <a:tabLst>
                <a:tab pos="2427288" algn="l"/>
              </a:tabLst>
            </a:pPr>
            <a:r>
              <a:rPr lang="de-DE" b="1" dirty="0" smtClean="0">
                <a:latin typeface="Arial" charset="0"/>
              </a:rPr>
              <a:t>Turnover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€ 2.1 billions, € 76.6 </a:t>
            </a:r>
            <a:r>
              <a:rPr lang="de-AT" dirty="0" smtClean="0">
                <a:latin typeface="Arial" charset="0"/>
              </a:rPr>
              <a:t>millions </a:t>
            </a:r>
            <a:r>
              <a:rPr dirty="0" smtClean="0"/>
              <a:t>EBIT</a:t>
            </a:r>
            <a:endParaRPr lang="en-GB" dirty="0">
              <a:latin typeface="Arial" charset="0"/>
              <a:cs typeface="MS PGothic" charset="0"/>
            </a:endParaRPr>
          </a:p>
          <a:p>
            <a:pPr lvl="1">
              <a:tabLst>
                <a:tab pos="2427288" algn="l"/>
              </a:tabLst>
            </a:pPr>
            <a:r>
              <a:rPr lang="de-DE" b="1" dirty="0">
                <a:latin typeface="Arial" charset="0"/>
              </a:rPr>
              <a:t>Goods carried 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109.2 million tonnes</a:t>
            </a:r>
          </a:p>
          <a:p>
            <a:pPr lvl="1">
              <a:tabLst>
                <a:tab pos="2427288" algn="l"/>
              </a:tabLst>
            </a:pPr>
            <a:r>
              <a:rPr lang="de-DE" b="1" dirty="0" smtClean="0">
                <a:latin typeface="Arial" charset="0"/>
              </a:rPr>
              <a:t>Tonne kilometres 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29.1 billion tonnes-km</a:t>
            </a:r>
          </a:p>
          <a:p>
            <a:pPr lvl="1">
              <a:tabLst>
                <a:tab pos="2427288" algn="l"/>
              </a:tabLst>
            </a:pPr>
            <a:r>
              <a:rPr lang="de-DE" b="1" dirty="0" smtClean="0">
                <a:latin typeface="Arial" charset="0"/>
              </a:rPr>
              <a:t>Staff</a:t>
            </a:r>
            <a:r>
              <a:rPr dirty="0" smtClean="0"/>
              <a:t> 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8,260</a:t>
            </a:r>
            <a:endParaRPr lang="en-GB" dirty="0">
              <a:latin typeface="Arial" charset="0"/>
              <a:cs typeface="MS PGothic" charset="0"/>
            </a:endParaRPr>
          </a:p>
          <a:p>
            <a:pPr lvl="1">
              <a:tabLst>
                <a:tab pos="2427288" algn="l"/>
              </a:tabLst>
            </a:pPr>
            <a:r>
              <a:rPr lang="de-DE" b="1" dirty="0" smtClean="0">
                <a:latin typeface="Arial" charset="0"/>
              </a:rPr>
              <a:t>Locomotives 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485 service locomotives </a:t>
            </a:r>
          </a:p>
          <a:p>
            <a:pPr marL="0" lvl="1" indent="0">
              <a:buNone/>
              <a:tabLst>
                <a:tab pos="2427288" algn="l"/>
              </a:tabLst>
            </a:pP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171 shunting locomotives</a:t>
            </a:r>
            <a:r>
              <a:rPr dirty="0" smtClean="0"/>
              <a:t> </a:t>
            </a:r>
          </a:p>
          <a:p>
            <a:pPr lvl="1">
              <a:spcBef>
                <a:spcPts val="1800"/>
              </a:spcBef>
              <a:tabLst>
                <a:tab pos="2427288" algn="l"/>
              </a:tabLst>
            </a:pPr>
            <a:r>
              <a:rPr lang="de-DE" b="1" dirty="0" smtClean="0">
                <a:latin typeface="Arial" charset="0"/>
              </a:rPr>
              <a:t>Wagons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21,445</a:t>
            </a:r>
          </a:p>
          <a:p>
            <a:pPr lvl="1">
              <a:lnSpc>
                <a:spcPts val="2200"/>
              </a:lnSpc>
              <a:spcBef>
                <a:spcPts val="1800"/>
              </a:spcBef>
              <a:tabLst>
                <a:tab pos="2427288" algn="l"/>
                <a:tab pos="2779713" algn="l"/>
              </a:tabLst>
            </a:pPr>
            <a:r>
              <a:rPr lang="de-DE" b="1" dirty="0" smtClean="0">
                <a:latin typeface="Arial" charset="0"/>
              </a:rPr>
              <a:t>5 rail business units	</a:t>
            </a:r>
            <a:r>
              <a:rPr lang="de-DE" dirty="0" smtClean="0">
                <a:latin typeface="Arial" charset="0"/>
              </a:rPr>
              <a:t>15 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Rail forwarding units </a:t>
            </a:r>
            <a:r>
              <a:rPr dirty="0"/>
              <a:t/>
            </a:r>
            <a:br>
              <a:rPr dirty="0"/>
            </a:b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  4 </a:t>
            </a: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Operating companies</a:t>
            </a:r>
            <a:r>
              <a:rPr dirty="0"/>
              <a:t/>
            </a:r>
            <a:br>
              <a:rPr dirty="0"/>
            </a:br>
            <a:r>
              <a:rPr lang="en-US" dirty="0" smtClean="0">
                <a:latin typeface="Arial" charset="0"/>
              </a:rPr>
              <a:t>	</a:t>
            </a:r>
            <a:r>
              <a:rPr lang="de-DE" dirty="0" smtClean="0">
                <a:latin typeface="Arial" charset="0"/>
              </a:rPr>
              <a:t>1</a:t>
            </a:r>
            <a:r>
              <a:rPr lang="de-DE" sz="1800" dirty="0" smtClean="0">
                <a:latin typeface="Arial" charset="0"/>
              </a:rPr>
              <a:t>0</a:t>
            </a:r>
            <a:r>
              <a:rPr lang="en-US" sz="1800" dirty="0" smtClean="0">
                <a:latin typeface="Arial" charset="0"/>
              </a:rPr>
              <a:t>	</a:t>
            </a:r>
            <a:r>
              <a:rPr lang="de-DE" sz="1800" dirty="0" smtClean="0">
                <a:latin typeface="Arial" charset="0"/>
              </a:rPr>
              <a:t>RU</a:t>
            </a:r>
            <a:r>
              <a:rPr dirty="0"/>
              <a:t/>
            </a:r>
            <a:br>
              <a:rPr dirty="0"/>
            </a:br>
            <a:r>
              <a:rPr lang="en-US" sz="1800" dirty="0" smtClean="0">
                <a:latin typeface="Arial" charset="0"/>
              </a:rPr>
              <a:t>	</a:t>
            </a:r>
            <a:r>
              <a:rPr lang="de-DE" sz="1800" dirty="0" smtClean="0">
                <a:latin typeface="Arial" charset="0"/>
              </a:rPr>
              <a:t>  1 </a:t>
            </a:r>
            <a:r>
              <a:rPr lang="en-US" sz="1800" dirty="0" smtClean="0">
                <a:latin typeface="Arial" charset="0"/>
              </a:rPr>
              <a:t>	</a:t>
            </a:r>
            <a:r>
              <a:rPr lang="de-DE" sz="1800" dirty="0" smtClean="0">
                <a:latin typeface="Arial" charset="0"/>
              </a:rPr>
              <a:t>Wagon lessor</a:t>
            </a:r>
            <a:r>
              <a:rPr dirty="0"/>
              <a:t/>
            </a:r>
            <a:br>
              <a:rPr dirty="0"/>
            </a:br>
            <a:r>
              <a:rPr lang="en-US" sz="1800" dirty="0" smtClean="0">
                <a:latin typeface="Arial" charset="0"/>
              </a:rPr>
              <a:t>	</a:t>
            </a:r>
            <a:r>
              <a:rPr lang="de-DE" sz="1800" dirty="0" smtClean="0">
                <a:latin typeface="Arial" charset="0"/>
              </a:rPr>
              <a:t>  4</a:t>
            </a:r>
            <a:r>
              <a:rPr lang="en-US" sz="1800" dirty="0" smtClean="0">
                <a:latin typeface="Arial" charset="0"/>
              </a:rPr>
              <a:t>	</a:t>
            </a:r>
            <a:r>
              <a:rPr lang="de-DE" sz="1800" dirty="0" smtClean="0">
                <a:latin typeface="Arial" charset="0"/>
              </a:rPr>
              <a:t>Rolling stock maintenance</a:t>
            </a:r>
            <a:r>
              <a:rPr lang="de-DE" dirty="0" smtClean="0">
                <a:latin typeface="Arial" charset="0"/>
              </a:rPr>
              <a:t> companies</a:t>
            </a:r>
            <a:r>
              <a:rPr lang="de-DE" sz="1800" dirty="0" smtClean="0">
                <a:latin typeface="Arial" charset="0"/>
              </a:rPr>
              <a:t> </a:t>
            </a:r>
            <a:r>
              <a:rPr lang="en-US" dirty="0" smtClean="0"/>
              <a:t>	</a:t>
            </a:r>
          </a:p>
          <a:p>
            <a:pPr marL="2287789" lvl="5" indent="0">
              <a:spcBef>
                <a:spcPts val="1800"/>
              </a:spcBef>
              <a:buNone/>
              <a:tabLst>
                <a:tab pos="2427288" algn="l"/>
              </a:tabLst>
            </a:pPr>
            <a:r>
              <a:rPr lang="en-US" dirty="0" smtClean="0"/>
              <a:t>	</a:t>
            </a: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Rail Cargo Group at a glance</a:t>
            </a:r>
            <a:endParaRPr lang="en-GB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A1A93A-3ECE-404F-9227-CE9DB02DD4BB}" type="slidenum">
              <a:rPr lang="de-DE" smtClean="0">
                <a:solidFill>
                  <a:srgbClr val="000000"/>
                </a:solidFill>
              </a:rPr>
              <a:pPr/>
              <a:t>5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Inhaltsplatzhalter 1"/>
          <p:cNvSpPr txBox="1">
            <a:spLocks/>
          </p:cNvSpPr>
          <p:nvPr/>
        </p:nvSpPr>
        <p:spPr bwMode="auto">
          <a:xfrm>
            <a:off x="7523568" y="972000"/>
            <a:ext cx="187504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12738" indent="-312738" algn="l" defTabSz="931863" rtl="0" eaLnBrk="0" fontAlgn="base" hangingPunct="0">
              <a:spcBef>
                <a:spcPts val="925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+mn-lt"/>
                <a:ea typeface="Geneva" charset="0"/>
                <a:cs typeface="Geneva" charset="0"/>
              </a:defRPr>
            </a:lvl1pPr>
            <a:lvl2pPr marL="260350" indent="-260350" algn="l" defTabSz="931863" rtl="0" eaLnBrk="0" fontAlgn="base" hangingPunct="0">
              <a:spcBef>
                <a:spcPts val="13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MS PGothic" charset="0"/>
                <a:cs typeface="Geneva"/>
              </a:defRPr>
            </a:lvl2pPr>
            <a:lvl3pPr marL="560388" indent="-296863" algn="l" defTabSz="9318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MS PGothic" charset="0"/>
                <a:cs typeface="Geneva"/>
              </a:defRPr>
            </a:lvl3pPr>
            <a:lvl4pPr marL="835025" indent="-279400" algn="l" defTabSz="931863" rtl="0" eaLnBrk="0" fontAlgn="base" hangingPunct="0"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>
                <a:solidFill>
                  <a:schemeClr val="tx1"/>
                </a:solidFill>
                <a:latin typeface="+mn-lt"/>
                <a:ea typeface="MS PGothic" charset="0"/>
                <a:cs typeface="Geneva"/>
              </a:defRPr>
            </a:lvl4pPr>
            <a:lvl5pPr marL="1123950" indent="-273050" algn="l" defTabSz="9318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09090"/>
              </a:buClr>
              <a:buSzPct val="100000"/>
              <a:buChar char="-"/>
              <a:defRPr>
                <a:solidFill>
                  <a:schemeClr val="tx1"/>
                </a:solidFill>
                <a:latin typeface="+mn-lt"/>
                <a:ea typeface="MS PGothic" charset="0"/>
                <a:cs typeface="Geneva"/>
              </a:defRPr>
            </a:lvl5pPr>
            <a:lvl6pPr marL="2521088" indent="-233299" algn="l" defTabSz="933196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41026" indent="-233299" algn="l" defTabSz="933196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360964" indent="-233299" algn="l" defTabSz="933196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780902" indent="-233299" algn="l" defTabSz="933196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ts val="900"/>
              </a:spcBef>
              <a:buNone/>
            </a:pPr>
            <a:r>
              <a:rPr lang="de-AT" sz="1000" i="1" kern="0" dirty="0" smtClean="0">
                <a:solidFill>
                  <a:schemeClr val="bg2"/>
                </a:solidFill>
              </a:rPr>
              <a:t>STATUS: 2015</a:t>
            </a:r>
            <a:endParaRPr lang="en-GB" sz="1000" i="1" kern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6038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112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5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hteck 42"/>
          <p:cNvSpPr/>
          <p:nvPr/>
        </p:nvSpPr>
        <p:spPr bwMode="auto">
          <a:xfrm>
            <a:off x="3868967" y="1466915"/>
            <a:ext cx="5553075" cy="8280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75" tIns="45587" rIns="91175" bIns="45587" numCol="1" rtlCol="0" anchor="t" anchorCtr="0" compatLnSpc="1">
            <a:prstTxWarp prst="textNoShape">
              <a:avLst/>
            </a:prstTxWarp>
          </a:bodyPr>
          <a:lstStyle/>
          <a:p>
            <a:pPr defTabSz="911765"/>
            <a:endParaRPr lang="de-AT" sz="24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3859822" y="2440207"/>
            <a:ext cx="5553075" cy="8280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75" tIns="45587" rIns="91175" bIns="45587" numCol="1" rtlCol="0" anchor="t" anchorCtr="0" compatLnSpc="1">
            <a:prstTxWarp prst="textNoShape">
              <a:avLst/>
            </a:prstTxWarp>
          </a:bodyPr>
          <a:lstStyle/>
          <a:p>
            <a:pPr defTabSz="911765"/>
            <a:endParaRPr lang="de-AT" sz="24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3865919" y="3393251"/>
            <a:ext cx="5553075" cy="8280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75" tIns="45587" rIns="91175" bIns="45587" numCol="1" rtlCol="0" anchor="t" anchorCtr="0" compatLnSpc="1">
            <a:prstTxWarp prst="textNoShape">
              <a:avLst/>
            </a:prstTxWarp>
          </a:bodyPr>
          <a:lstStyle/>
          <a:p>
            <a:pPr defTabSz="911765"/>
            <a:endParaRPr lang="de-AT" sz="24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sz="quarter" idx="13"/>
          </p:nvPr>
        </p:nvSpPr>
        <p:spPr>
          <a:xfrm>
            <a:off x="560551" y="1728897"/>
            <a:ext cx="1171534" cy="609858"/>
          </a:xfrm>
        </p:spPr>
        <p:txBody>
          <a:bodyPr/>
          <a:lstStyle/>
          <a:p>
            <a:r>
              <a:rPr dirty="0" smtClean="0"/>
              <a:t> </a:t>
            </a: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60387" y="504825"/>
            <a:ext cx="6617621" cy="522288"/>
          </a:xfrm>
        </p:spPr>
        <p:txBody>
          <a:bodyPr/>
          <a:lstStyle/>
          <a:p>
            <a:r>
              <a:rPr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Rail Cargo Group business model</a:t>
            </a:r>
            <a:endParaRPr lang="en-GB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560388" y="1460802"/>
            <a:ext cx="2881312" cy="4673298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75" tIns="45587" rIns="91175" bIns="45587" numCol="1" rtlCol="0" anchor="t" anchorCtr="0" compatLnSpc="1">
            <a:prstTxWarp prst="textNoShape">
              <a:avLst/>
            </a:prstTxWarp>
          </a:bodyPr>
          <a:lstStyle/>
          <a:p>
            <a:pPr defTabSz="911765"/>
            <a:endParaRPr lang="de-AT" sz="24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3439222" y="1471772"/>
            <a:ext cx="170389" cy="4651375"/>
            <a:chOff x="6382088" y="1425469"/>
            <a:chExt cx="170389" cy="4783750"/>
          </a:xfrm>
          <a:solidFill>
            <a:schemeClr val="accent1"/>
          </a:solidFill>
        </p:grpSpPr>
        <p:sp>
          <p:nvSpPr>
            <p:cNvPr id="9" name="Freeform 28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 rot="16200000" flipH="1" flipV="1">
              <a:off x="4441775" y="4098517"/>
              <a:ext cx="4051015" cy="170389"/>
            </a:xfrm>
            <a:custGeom>
              <a:avLst/>
              <a:gdLst>
                <a:gd name="T0" fmla="*/ 0 w 2691"/>
                <a:gd name="T1" fmla="*/ 159 h 159"/>
                <a:gd name="T2" fmla="*/ 2691 w 2691"/>
                <a:gd name="T3" fmla="*/ 159 h 159"/>
                <a:gd name="T4" fmla="*/ 2416 w 2691"/>
                <a:gd name="T5" fmla="*/ 0 h 159"/>
                <a:gd name="T6" fmla="*/ 2416 w 2691"/>
                <a:gd name="T7" fmla="*/ 105 h 159"/>
                <a:gd name="T8" fmla="*/ 0 w 2691"/>
                <a:gd name="T9" fmla="*/ 104 h 159"/>
                <a:gd name="T10" fmla="*/ 0 w 2691"/>
                <a:gd name="T11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1" h="159">
                  <a:moveTo>
                    <a:pt x="0" y="159"/>
                  </a:moveTo>
                  <a:lnTo>
                    <a:pt x="2691" y="159"/>
                  </a:lnTo>
                  <a:lnTo>
                    <a:pt x="2416" y="0"/>
                  </a:lnTo>
                  <a:lnTo>
                    <a:pt x="2416" y="105"/>
                  </a:lnTo>
                  <a:lnTo>
                    <a:pt x="0" y="104"/>
                  </a:lnTo>
                  <a:lnTo>
                    <a:pt x="0" y="159"/>
                  </a:lnTo>
                  <a:close/>
                </a:path>
              </a:pathLst>
            </a:custGeom>
            <a:grp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10" name="Freeform 28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 rot="16200000" flipV="1">
              <a:off x="4411526" y="3396031"/>
              <a:ext cx="4111514" cy="170389"/>
            </a:xfrm>
            <a:custGeom>
              <a:avLst/>
              <a:gdLst>
                <a:gd name="T0" fmla="*/ 0 w 2691"/>
                <a:gd name="T1" fmla="*/ 159 h 159"/>
                <a:gd name="T2" fmla="*/ 2691 w 2691"/>
                <a:gd name="T3" fmla="*/ 159 h 159"/>
                <a:gd name="T4" fmla="*/ 2416 w 2691"/>
                <a:gd name="T5" fmla="*/ 0 h 159"/>
                <a:gd name="T6" fmla="*/ 2416 w 2691"/>
                <a:gd name="T7" fmla="*/ 105 h 159"/>
                <a:gd name="T8" fmla="*/ 0 w 2691"/>
                <a:gd name="T9" fmla="*/ 104 h 159"/>
                <a:gd name="T10" fmla="*/ 0 w 2691"/>
                <a:gd name="T11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1" h="159">
                  <a:moveTo>
                    <a:pt x="0" y="159"/>
                  </a:moveTo>
                  <a:lnTo>
                    <a:pt x="2691" y="159"/>
                  </a:lnTo>
                  <a:lnTo>
                    <a:pt x="2416" y="0"/>
                  </a:lnTo>
                  <a:lnTo>
                    <a:pt x="2416" y="105"/>
                  </a:lnTo>
                  <a:lnTo>
                    <a:pt x="0" y="104"/>
                  </a:lnTo>
                  <a:lnTo>
                    <a:pt x="0" y="159"/>
                  </a:lnTo>
                  <a:close/>
                </a:path>
              </a:pathLst>
            </a:custGeom>
            <a:grp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rgbClr val="FFFFFF"/>
                </a:solidFill>
                <a:ea typeface="ＭＳ Ｐゴシック" charset="-128"/>
                <a:cs typeface="ＭＳ Ｐゴシック" charset="-128"/>
              </a:endParaRP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654171" y="2248948"/>
            <a:ext cx="2748451" cy="3785383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pPr marL="228600" indent="-2286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AT" sz="1500" dirty="0">
                <a:solidFill>
                  <a:srgbClr val="000000"/>
                </a:solidFill>
              </a:rPr>
              <a:t>Focus on </a:t>
            </a:r>
            <a:r>
              <a:rPr lang="de-AT" sz="1500" b="1" dirty="0" smtClean="0">
                <a:solidFill>
                  <a:srgbClr val="000000"/>
                </a:solidFill>
              </a:rPr>
              <a:t>core competence: railway logistics</a:t>
            </a:r>
            <a:endParaRPr lang="en-GB" sz="1500" b="1" dirty="0">
              <a:solidFill>
                <a:srgbClr val="000000"/>
              </a:solidFill>
            </a:endParaRPr>
          </a:p>
          <a:p>
            <a:pPr marL="228600" indent="-2286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sz="1500" dirty="0" smtClean="0"/>
              <a:t>Transparency through simplicity and</a:t>
            </a:r>
            <a:r>
              <a:rPr sz="1500" dirty="0"/>
              <a:t/>
            </a:r>
            <a:br>
              <a:rPr sz="1500" dirty="0"/>
            </a:br>
            <a:r>
              <a:rPr lang="de-AT" sz="1500" b="1" dirty="0" smtClean="0">
                <a:solidFill>
                  <a:srgbClr val="000000"/>
                </a:solidFill>
              </a:rPr>
              <a:t>five businesses, each with its own model and markets (internal, external)</a:t>
            </a:r>
            <a:endParaRPr lang="en-GB" sz="1500" b="1" dirty="0">
              <a:solidFill>
                <a:srgbClr val="000000"/>
              </a:solidFill>
            </a:endParaRPr>
          </a:p>
          <a:p>
            <a:pPr marL="228600" indent="-2286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AT" sz="1500" b="1" dirty="0">
                <a:solidFill>
                  <a:srgbClr val="000000"/>
                </a:solidFill>
              </a:rPr>
              <a:t>Bringing together</a:t>
            </a:r>
            <a:r>
              <a:rPr dirty="0"/>
              <a:t/>
            </a:r>
            <a:br>
              <a:rPr dirty="0"/>
            </a:br>
            <a:r>
              <a:rPr lang="de-AT" sz="1500" b="1" dirty="0">
                <a:solidFill>
                  <a:srgbClr val="000000"/>
                </a:solidFill>
              </a:rPr>
              <a:t>skills, resources </a:t>
            </a:r>
            <a:r>
              <a:rPr lang="de-AT" sz="1500" dirty="0" smtClean="0">
                <a:solidFill>
                  <a:srgbClr val="000000"/>
                </a:solidFill>
              </a:rPr>
              <a:t>and </a:t>
            </a:r>
            <a:r>
              <a:rPr lang="de-AT" sz="1500" b="1" dirty="0" smtClean="0">
                <a:solidFill>
                  <a:srgbClr val="000000"/>
                </a:solidFill>
              </a:rPr>
              <a:t>responsibilities</a:t>
            </a:r>
          </a:p>
          <a:p>
            <a:pPr marL="228600" indent="-228600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AT" sz="1500" b="1" dirty="0" smtClean="0">
                <a:solidFill>
                  <a:srgbClr val="000000"/>
                </a:solidFill>
              </a:rPr>
              <a:t>Consistent brand architecture</a:t>
            </a:r>
            <a:endParaRPr lang="en-GB" sz="1500" b="1" dirty="0">
              <a:solidFill>
                <a:srgbClr val="00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4084931" y="1604384"/>
            <a:ext cx="3093078" cy="553729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r>
              <a:rPr lang="de-AT" sz="1500" b="1" dirty="0" smtClean="0">
                <a:solidFill>
                  <a:srgbClr val="000000"/>
                </a:solidFill>
              </a:rPr>
              <a:t>Rail forwarding </a:t>
            </a:r>
            <a:r>
              <a:rPr sz="1500" dirty="0" smtClean="0"/>
              <a:t>with specialist sector competence</a:t>
            </a:r>
            <a:r>
              <a:rPr lang="de-AT" sz="1500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084947" y="3507475"/>
            <a:ext cx="2902707" cy="553729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r>
              <a:rPr lang="de-AT" sz="1500" b="1" dirty="0" smtClean="0">
                <a:solidFill>
                  <a:srgbClr val="000000"/>
                </a:solidFill>
              </a:rPr>
              <a:t>Carrier </a:t>
            </a:r>
            <a:r>
              <a:rPr lang="de-AT" sz="1500" dirty="0" smtClean="0">
                <a:solidFill>
                  <a:srgbClr val="000000"/>
                </a:solidFill>
              </a:rPr>
              <a:t>for </a:t>
            </a:r>
            <a:r>
              <a:rPr lang="de-AT" sz="1500" b="1" dirty="0" smtClean="0">
                <a:solidFill>
                  <a:srgbClr val="000000"/>
                </a:solidFill>
              </a:rPr>
              <a:t>in-house traction provision</a:t>
            </a: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84931" y="4633325"/>
            <a:ext cx="3093078" cy="322897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r>
              <a:rPr lang="de-AT" sz="1500" b="1" dirty="0" smtClean="0">
                <a:solidFill>
                  <a:srgbClr val="000000"/>
                </a:solidFill>
              </a:rPr>
              <a:t>Wagon rental</a:t>
            </a: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084931" y="5538067"/>
            <a:ext cx="3380828" cy="322897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r>
              <a:rPr lang="de-AT" sz="1500" b="1" dirty="0" smtClean="0">
                <a:solidFill>
                  <a:srgbClr val="000000"/>
                </a:solidFill>
              </a:rPr>
              <a:t>Rolling stock maintenance </a:t>
            </a: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3859823" y="4365563"/>
            <a:ext cx="5553075" cy="8280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75" tIns="45587" rIns="91175" bIns="45587" numCol="1" rtlCol="0" anchor="t" anchorCtr="0" compatLnSpc="1">
            <a:prstTxWarp prst="textNoShape">
              <a:avLst/>
            </a:prstTxWarp>
          </a:bodyPr>
          <a:lstStyle/>
          <a:p>
            <a:pPr defTabSz="911765"/>
            <a:endParaRPr lang="de-AT" sz="24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3859823" y="5299333"/>
            <a:ext cx="5553075" cy="8280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175" tIns="45587" rIns="91175" bIns="45587" numCol="1" rtlCol="0" anchor="t" anchorCtr="0" compatLnSpc="1">
            <a:prstTxWarp prst="textNoShape">
              <a:avLst/>
            </a:prstTxWarp>
          </a:bodyPr>
          <a:lstStyle/>
          <a:p>
            <a:pPr defTabSz="911765"/>
            <a:endParaRPr lang="de-AT" sz="2400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4084931" y="2577343"/>
            <a:ext cx="3330165" cy="553729"/>
          </a:xfrm>
          <a:prstGeom prst="rect">
            <a:avLst/>
          </a:prstGeom>
          <a:noFill/>
        </p:spPr>
        <p:txBody>
          <a:bodyPr wrap="square" lIns="91175" tIns="45587" rIns="91175" bIns="45587" rtlCol="0">
            <a:spAutoFit/>
          </a:bodyPr>
          <a:lstStyle/>
          <a:p>
            <a:r>
              <a:rPr lang="de-AT" sz="1500" b="1" dirty="0" smtClean="0">
                <a:solidFill>
                  <a:srgbClr val="000000"/>
                </a:solidFill>
              </a:rPr>
              <a:t>Operator </a:t>
            </a:r>
            <a:r>
              <a:rPr lang="de-AT" sz="1500" dirty="0" smtClean="0">
                <a:solidFill>
                  <a:srgbClr val="000000"/>
                </a:solidFill>
              </a:rPr>
              <a:t>for high-frequency </a:t>
            </a:r>
            <a:r>
              <a:rPr dirty="0"/>
              <a:t/>
            </a:r>
            <a:br>
              <a:rPr dirty="0"/>
            </a:br>
            <a:r>
              <a:rPr lang="de-AT" sz="1500" dirty="0" smtClean="0">
                <a:solidFill>
                  <a:srgbClr val="000000"/>
                </a:solidFill>
              </a:rPr>
              <a:t>long-distance routes</a:t>
            </a: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7090929" y="5513881"/>
            <a:ext cx="2177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de-AT" sz="900" dirty="0">
                <a:solidFill>
                  <a:srgbClr val="000000"/>
                </a:solidFill>
              </a:rPr>
              <a:t>ÖBB-Technische Services GmbH</a:t>
            </a:r>
            <a:br>
              <a:rPr lang="de-AT" sz="900" dirty="0">
                <a:solidFill>
                  <a:srgbClr val="000000"/>
                </a:solidFill>
              </a:rPr>
            </a:br>
            <a:r>
              <a:rPr lang="de-AT" sz="900" dirty="0">
                <a:solidFill>
                  <a:srgbClr val="000000"/>
                </a:solidFill>
              </a:rPr>
              <a:t>Technical Services Hungaria</a:t>
            </a:r>
            <a:r>
              <a:rPr sz="900" dirty="0">
                <a:solidFill>
                  <a:srgbClr val="000000"/>
                </a:solidFill>
              </a:rPr>
              <a:t> </a:t>
            </a:r>
            <a:r>
              <a:rPr lang="de-AT" sz="900" dirty="0">
                <a:solidFill>
                  <a:srgbClr val="000000"/>
                </a:solidFill>
              </a:rPr>
              <a:t>Kft.</a:t>
            </a:r>
          </a:p>
          <a:p>
            <a:pPr marL="171450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de-AT" sz="900" dirty="0">
                <a:solidFill>
                  <a:srgbClr val="000000"/>
                </a:solidFill>
              </a:rPr>
              <a:t>Technical Services Slovakia, s.r.o.</a:t>
            </a:r>
          </a:p>
          <a:p>
            <a:pPr marL="171450" indent="-171450">
              <a:buClr>
                <a:schemeClr val="accent1"/>
              </a:buClr>
              <a:buFont typeface="Wingdings" pitchFamily="2" charset="2"/>
              <a:buChar char="§"/>
            </a:pPr>
            <a:r>
              <a:rPr lang="de-AT" sz="900" dirty="0">
                <a:solidFill>
                  <a:srgbClr val="000000"/>
                </a:solidFill>
              </a:rPr>
              <a:t>TS-MÁV Gépészet</a:t>
            </a:r>
            <a:r>
              <a:rPr sz="900" dirty="0">
                <a:solidFill>
                  <a:srgbClr val="000000"/>
                </a:solidFill>
              </a:rPr>
              <a:t> </a:t>
            </a:r>
            <a:r>
              <a:rPr lang="de-AT" sz="900" dirty="0">
                <a:solidFill>
                  <a:srgbClr val="000000"/>
                </a:solidFill>
              </a:rPr>
              <a:t>Kft. </a:t>
            </a:r>
          </a:p>
        </p:txBody>
      </p:sp>
      <p:sp>
        <p:nvSpPr>
          <p:cNvPr id="36" name="Rechteck 35"/>
          <p:cNvSpPr/>
          <p:nvPr/>
        </p:nvSpPr>
        <p:spPr bwMode="auto">
          <a:xfrm>
            <a:off x="3758533" y="2747691"/>
            <a:ext cx="213032" cy="213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" name="Rechteck 36"/>
          <p:cNvSpPr/>
          <p:nvPr/>
        </p:nvSpPr>
        <p:spPr bwMode="auto">
          <a:xfrm>
            <a:off x="3758533" y="1774732"/>
            <a:ext cx="213032" cy="213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en-GB" sz="12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3758533" y="3699985"/>
            <a:ext cx="213032" cy="213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9" name="Rechteck 38"/>
          <p:cNvSpPr/>
          <p:nvPr/>
        </p:nvSpPr>
        <p:spPr bwMode="auto">
          <a:xfrm>
            <a:off x="3758533" y="4673047"/>
            <a:ext cx="213032" cy="213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0" name="Rechteck 39"/>
          <p:cNvSpPr/>
          <p:nvPr/>
        </p:nvSpPr>
        <p:spPr bwMode="auto">
          <a:xfrm>
            <a:off x="3758533" y="5606817"/>
            <a:ext cx="213032" cy="213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5</a:t>
            </a:r>
          </a:p>
        </p:txBody>
      </p:sp>
      <p:cxnSp>
        <p:nvCxnSpPr>
          <p:cNvPr id="29" name="Gerade Verbindung 28"/>
          <p:cNvCxnSpPr/>
          <p:nvPr/>
        </p:nvCxnSpPr>
        <p:spPr bwMode="auto">
          <a:xfrm flipH="1">
            <a:off x="8061325" y="3482975"/>
            <a:ext cx="60325" cy="2032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6" name="Grafik 2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433" y="3467579"/>
            <a:ext cx="798556" cy="161274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433" y="3720052"/>
            <a:ext cx="872445" cy="161274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433" y="3972526"/>
            <a:ext cx="810635" cy="161274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324" y="1718540"/>
            <a:ext cx="1741763" cy="325416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324" y="2691499"/>
            <a:ext cx="1776168" cy="325416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324" y="4616855"/>
            <a:ext cx="1637113" cy="325416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63399" y="5356013"/>
            <a:ext cx="473207" cy="168793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3050" y="3488531"/>
            <a:ext cx="294592" cy="105081"/>
          </a:xfrm>
          <a:prstGeom prst="rect">
            <a:avLst/>
          </a:prstGeom>
        </p:spPr>
      </p:pic>
      <p:sp>
        <p:nvSpPr>
          <p:cNvPr id="25" name="Textfeld 24"/>
          <p:cNvSpPr txBox="1"/>
          <p:nvPr/>
        </p:nvSpPr>
        <p:spPr bwMode="auto">
          <a:xfrm>
            <a:off x="8063322" y="3603553"/>
            <a:ext cx="1144686" cy="10772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rtlCol="0" anchor="ctr" anchorCtr="1">
            <a:spAutoFit/>
          </a:bodyPr>
          <a:lstStyle/>
          <a:p>
            <a:pPr>
              <a:buClr>
                <a:schemeClr val="accent1"/>
              </a:buClr>
            </a:pPr>
            <a:r>
              <a:rPr lang="de-AT" sz="700" dirty="0" smtClean="0">
                <a:solidFill>
                  <a:srgbClr val="000000"/>
                </a:solidFill>
              </a:rPr>
              <a:t>ÖBB-Produktion GmbH</a:t>
            </a:r>
            <a:endParaRPr lang="en-GB" sz="700" dirty="0">
              <a:solidFill>
                <a:srgbClr val="000000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A1A93A-3ECE-404F-9227-CE9DB02DD4BB}" type="slidenum">
              <a:rPr lang="de-DE" smtClean="0">
                <a:solidFill>
                  <a:srgbClr val="000000"/>
                </a:solidFill>
              </a:rPr>
              <a:pPr/>
              <a:t>6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46" name="Picture 54" descr="H:\KOMMUNIKATION\010_KOM\2015\Aktuelle Logos\_Rail Cargo Group\RCGroup+Zusatz_RGB_226-0-42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40" y="1610721"/>
            <a:ext cx="2270399" cy="445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411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017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ＭＳ Ｐゴシック" charset="-128"/>
              <a:cs typeface="ＭＳ Ｐゴシック" charset="-128"/>
              <a:sym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RCC objective: fast, safe and high-quality transports throughout Europe</a:t>
            </a:r>
            <a:endParaRPr lang="en-GB" sz="1900" b="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A1A93A-3ECE-404F-9227-CE9DB02DD4BB}" type="slidenum">
              <a:rPr lang="de-DE" smtClean="0">
                <a:solidFill>
                  <a:srgbClr val="000000"/>
                </a:solidFill>
              </a:rPr>
              <a:pPr/>
              <a:t>7</a:t>
            </a:fld>
            <a:endParaRPr lang="de-DE" dirty="0">
              <a:solidFill>
                <a:srgbClr val="000000"/>
              </a:solidFill>
            </a:endParaRPr>
          </a:p>
        </p:txBody>
      </p:sp>
      <p:grpSp>
        <p:nvGrpSpPr>
          <p:cNvPr id="86" name="Gruppieren 85"/>
          <p:cNvGrpSpPr>
            <a:grpSpLocks noChangeAspect="1"/>
          </p:cNvGrpSpPr>
          <p:nvPr/>
        </p:nvGrpSpPr>
        <p:grpSpPr>
          <a:xfrm>
            <a:off x="690753" y="1829971"/>
            <a:ext cx="6204855" cy="4348338"/>
            <a:chOff x="772777" y="1407443"/>
            <a:chExt cx="6963121" cy="4879727"/>
          </a:xfrm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772777" y="2162992"/>
              <a:ext cx="707752" cy="653269"/>
            </a:xfrm>
            <a:custGeom>
              <a:avLst/>
              <a:gdLst>
                <a:gd name="T0" fmla="*/ 2147483647 w 225"/>
                <a:gd name="T1" fmla="*/ 2147483647 h 254"/>
                <a:gd name="T2" fmla="*/ 2147483647 w 225"/>
                <a:gd name="T3" fmla="*/ 2147483647 h 254"/>
                <a:gd name="T4" fmla="*/ 2147483647 w 225"/>
                <a:gd name="T5" fmla="*/ 2147483647 h 254"/>
                <a:gd name="T6" fmla="*/ 2147483647 w 225"/>
                <a:gd name="T7" fmla="*/ 2147483647 h 254"/>
                <a:gd name="T8" fmla="*/ 2147483647 w 225"/>
                <a:gd name="T9" fmla="*/ 2147483647 h 254"/>
                <a:gd name="T10" fmla="*/ 2147483647 w 225"/>
                <a:gd name="T11" fmla="*/ 2147483647 h 254"/>
                <a:gd name="T12" fmla="*/ 2147483647 w 225"/>
                <a:gd name="T13" fmla="*/ 2147483647 h 254"/>
                <a:gd name="T14" fmla="*/ 2147483647 w 225"/>
                <a:gd name="T15" fmla="*/ 2147483647 h 254"/>
                <a:gd name="T16" fmla="*/ 2147483647 w 225"/>
                <a:gd name="T17" fmla="*/ 2147483647 h 254"/>
                <a:gd name="T18" fmla="*/ 2147483647 w 225"/>
                <a:gd name="T19" fmla="*/ 2147483647 h 254"/>
                <a:gd name="T20" fmla="*/ 2147483647 w 225"/>
                <a:gd name="T21" fmla="*/ 2147483647 h 254"/>
                <a:gd name="T22" fmla="*/ 2147483647 w 225"/>
                <a:gd name="T23" fmla="*/ 2147483647 h 254"/>
                <a:gd name="T24" fmla="*/ 2147483647 w 225"/>
                <a:gd name="T25" fmla="*/ 2147483647 h 254"/>
                <a:gd name="T26" fmla="*/ 2147483647 w 225"/>
                <a:gd name="T27" fmla="*/ 2147483647 h 254"/>
                <a:gd name="T28" fmla="*/ 2147483647 w 225"/>
                <a:gd name="T29" fmla="*/ 2147483647 h 254"/>
                <a:gd name="T30" fmla="*/ 2147483647 w 225"/>
                <a:gd name="T31" fmla="*/ 2147483647 h 254"/>
                <a:gd name="T32" fmla="*/ 2147483647 w 225"/>
                <a:gd name="T33" fmla="*/ 2147483647 h 254"/>
                <a:gd name="T34" fmla="*/ 2147483647 w 225"/>
                <a:gd name="T35" fmla="*/ 2147483647 h 254"/>
                <a:gd name="T36" fmla="*/ 2147483647 w 225"/>
                <a:gd name="T37" fmla="*/ 2147483647 h 254"/>
                <a:gd name="T38" fmla="*/ 2147483647 w 225"/>
                <a:gd name="T39" fmla="*/ 2147483647 h 254"/>
                <a:gd name="T40" fmla="*/ 2147483647 w 225"/>
                <a:gd name="T41" fmla="*/ 2147483647 h 254"/>
                <a:gd name="T42" fmla="*/ 2147483647 w 225"/>
                <a:gd name="T43" fmla="*/ 2147483647 h 254"/>
                <a:gd name="T44" fmla="*/ 2147483647 w 225"/>
                <a:gd name="T45" fmla="*/ 2147483647 h 254"/>
                <a:gd name="T46" fmla="*/ 2147483647 w 225"/>
                <a:gd name="T47" fmla="*/ 2147483647 h 254"/>
                <a:gd name="T48" fmla="*/ 2147483647 w 225"/>
                <a:gd name="T49" fmla="*/ 2147483647 h 254"/>
                <a:gd name="T50" fmla="*/ 2147483647 w 225"/>
                <a:gd name="T51" fmla="*/ 2147483647 h 254"/>
                <a:gd name="T52" fmla="*/ 2147483647 w 225"/>
                <a:gd name="T53" fmla="*/ 2147483647 h 254"/>
                <a:gd name="T54" fmla="*/ 2147483647 w 225"/>
                <a:gd name="T55" fmla="*/ 2147483647 h 254"/>
                <a:gd name="T56" fmla="*/ 2147483647 w 225"/>
                <a:gd name="T57" fmla="*/ 2147483647 h 254"/>
                <a:gd name="T58" fmla="*/ 2147483647 w 225"/>
                <a:gd name="T59" fmla="*/ 2147483647 h 254"/>
                <a:gd name="T60" fmla="*/ 0 w 225"/>
                <a:gd name="T61" fmla="*/ 2147483647 h 254"/>
                <a:gd name="T62" fmla="*/ 2147483647 w 225"/>
                <a:gd name="T63" fmla="*/ 2147483647 h 254"/>
                <a:gd name="T64" fmla="*/ 2147483647 w 225"/>
                <a:gd name="T65" fmla="*/ 2147483647 h 254"/>
                <a:gd name="T66" fmla="*/ 2147483647 w 225"/>
                <a:gd name="T67" fmla="*/ 2147483647 h 254"/>
                <a:gd name="T68" fmla="*/ 2147483647 w 225"/>
                <a:gd name="T69" fmla="*/ 2147483647 h 254"/>
                <a:gd name="T70" fmla="*/ 2147483647 w 225"/>
                <a:gd name="T71" fmla="*/ 2147483647 h 2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5"/>
                <a:gd name="T109" fmla="*/ 0 h 254"/>
                <a:gd name="T110" fmla="*/ 225 w 225"/>
                <a:gd name="T111" fmla="*/ 254 h 2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5" h="254">
                  <a:moveTo>
                    <a:pt x="139" y="252"/>
                  </a:moveTo>
                  <a:lnTo>
                    <a:pt x="136" y="222"/>
                  </a:lnTo>
                  <a:lnTo>
                    <a:pt x="144" y="206"/>
                  </a:lnTo>
                  <a:lnTo>
                    <a:pt x="142" y="184"/>
                  </a:lnTo>
                  <a:lnTo>
                    <a:pt x="145" y="148"/>
                  </a:lnTo>
                  <a:lnTo>
                    <a:pt x="161" y="145"/>
                  </a:lnTo>
                  <a:lnTo>
                    <a:pt x="171" y="151"/>
                  </a:lnTo>
                  <a:lnTo>
                    <a:pt x="187" y="132"/>
                  </a:lnTo>
                  <a:lnTo>
                    <a:pt x="204" y="122"/>
                  </a:lnTo>
                  <a:lnTo>
                    <a:pt x="210" y="102"/>
                  </a:lnTo>
                  <a:lnTo>
                    <a:pt x="192" y="75"/>
                  </a:lnTo>
                  <a:lnTo>
                    <a:pt x="208" y="69"/>
                  </a:lnTo>
                  <a:lnTo>
                    <a:pt x="225" y="23"/>
                  </a:lnTo>
                  <a:lnTo>
                    <a:pt x="211" y="8"/>
                  </a:lnTo>
                  <a:lnTo>
                    <a:pt x="204" y="0"/>
                  </a:lnTo>
                  <a:lnTo>
                    <a:pt x="188" y="2"/>
                  </a:lnTo>
                  <a:lnTo>
                    <a:pt x="185" y="9"/>
                  </a:lnTo>
                  <a:lnTo>
                    <a:pt x="173" y="11"/>
                  </a:lnTo>
                  <a:lnTo>
                    <a:pt x="167" y="4"/>
                  </a:lnTo>
                  <a:lnTo>
                    <a:pt x="160" y="3"/>
                  </a:lnTo>
                  <a:lnTo>
                    <a:pt x="150" y="1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35" y="9"/>
                  </a:lnTo>
                  <a:lnTo>
                    <a:pt x="129" y="22"/>
                  </a:lnTo>
                  <a:lnTo>
                    <a:pt x="128" y="30"/>
                  </a:lnTo>
                  <a:lnTo>
                    <a:pt x="125" y="38"/>
                  </a:lnTo>
                  <a:lnTo>
                    <a:pt x="127" y="45"/>
                  </a:lnTo>
                  <a:lnTo>
                    <a:pt x="134" y="51"/>
                  </a:lnTo>
                  <a:lnTo>
                    <a:pt x="134" y="57"/>
                  </a:lnTo>
                  <a:lnTo>
                    <a:pt x="131" y="67"/>
                  </a:lnTo>
                  <a:lnTo>
                    <a:pt x="134" y="77"/>
                  </a:lnTo>
                  <a:lnTo>
                    <a:pt x="124" y="77"/>
                  </a:lnTo>
                  <a:lnTo>
                    <a:pt x="118" y="82"/>
                  </a:lnTo>
                  <a:lnTo>
                    <a:pt x="120" y="89"/>
                  </a:lnTo>
                  <a:lnTo>
                    <a:pt x="122" y="101"/>
                  </a:lnTo>
                  <a:lnTo>
                    <a:pt x="107" y="97"/>
                  </a:lnTo>
                  <a:lnTo>
                    <a:pt x="100" y="85"/>
                  </a:lnTo>
                  <a:lnTo>
                    <a:pt x="99" y="65"/>
                  </a:lnTo>
                  <a:lnTo>
                    <a:pt x="113" y="66"/>
                  </a:lnTo>
                  <a:lnTo>
                    <a:pt x="112" y="51"/>
                  </a:lnTo>
                  <a:lnTo>
                    <a:pt x="106" y="37"/>
                  </a:lnTo>
                  <a:lnTo>
                    <a:pt x="111" y="12"/>
                  </a:lnTo>
                  <a:lnTo>
                    <a:pt x="97" y="29"/>
                  </a:lnTo>
                  <a:lnTo>
                    <a:pt x="97" y="44"/>
                  </a:lnTo>
                  <a:lnTo>
                    <a:pt x="87" y="52"/>
                  </a:lnTo>
                  <a:lnTo>
                    <a:pt x="86" y="65"/>
                  </a:lnTo>
                  <a:lnTo>
                    <a:pt x="77" y="72"/>
                  </a:lnTo>
                  <a:lnTo>
                    <a:pt x="79" y="95"/>
                  </a:lnTo>
                  <a:lnTo>
                    <a:pt x="64" y="109"/>
                  </a:lnTo>
                  <a:lnTo>
                    <a:pt x="49" y="118"/>
                  </a:lnTo>
                  <a:lnTo>
                    <a:pt x="41" y="129"/>
                  </a:lnTo>
                  <a:lnTo>
                    <a:pt x="52" y="145"/>
                  </a:lnTo>
                  <a:lnTo>
                    <a:pt x="75" y="146"/>
                  </a:lnTo>
                  <a:lnTo>
                    <a:pt x="83" y="155"/>
                  </a:lnTo>
                  <a:lnTo>
                    <a:pt x="69" y="159"/>
                  </a:lnTo>
                  <a:lnTo>
                    <a:pt x="47" y="158"/>
                  </a:lnTo>
                  <a:lnTo>
                    <a:pt x="35" y="161"/>
                  </a:lnTo>
                  <a:lnTo>
                    <a:pt x="20" y="166"/>
                  </a:lnTo>
                  <a:lnTo>
                    <a:pt x="10" y="161"/>
                  </a:lnTo>
                  <a:lnTo>
                    <a:pt x="3" y="167"/>
                  </a:lnTo>
                  <a:lnTo>
                    <a:pt x="0" y="183"/>
                  </a:lnTo>
                  <a:lnTo>
                    <a:pt x="25" y="187"/>
                  </a:lnTo>
                  <a:lnTo>
                    <a:pt x="42" y="179"/>
                  </a:lnTo>
                  <a:lnTo>
                    <a:pt x="63" y="176"/>
                  </a:lnTo>
                  <a:lnTo>
                    <a:pt x="86" y="180"/>
                  </a:lnTo>
                  <a:lnTo>
                    <a:pt x="101" y="192"/>
                  </a:lnTo>
                  <a:lnTo>
                    <a:pt x="115" y="210"/>
                  </a:lnTo>
                  <a:lnTo>
                    <a:pt x="120" y="220"/>
                  </a:lnTo>
                  <a:lnTo>
                    <a:pt x="111" y="244"/>
                  </a:lnTo>
                  <a:lnTo>
                    <a:pt x="125" y="248"/>
                  </a:lnTo>
                  <a:lnTo>
                    <a:pt x="141" y="254"/>
                  </a:ln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180268" y="1842954"/>
              <a:ext cx="1683586" cy="1834433"/>
            </a:xfrm>
            <a:custGeom>
              <a:avLst/>
              <a:gdLst>
                <a:gd name="T0" fmla="*/ 2147483647 w 536"/>
                <a:gd name="T1" fmla="*/ 2147483647 h 720"/>
                <a:gd name="T2" fmla="*/ 2147483647 w 536"/>
                <a:gd name="T3" fmla="*/ 2147483647 h 720"/>
                <a:gd name="T4" fmla="*/ 2147483647 w 536"/>
                <a:gd name="T5" fmla="*/ 2147483647 h 720"/>
                <a:gd name="T6" fmla="*/ 2147483647 w 536"/>
                <a:gd name="T7" fmla="*/ 2147483647 h 720"/>
                <a:gd name="T8" fmla="*/ 2147483647 w 536"/>
                <a:gd name="T9" fmla="*/ 2147483647 h 720"/>
                <a:gd name="T10" fmla="*/ 2147483647 w 536"/>
                <a:gd name="T11" fmla="*/ 2147483647 h 720"/>
                <a:gd name="T12" fmla="*/ 2147483647 w 536"/>
                <a:gd name="T13" fmla="*/ 2147483647 h 720"/>
                <a:gd name="T14" fmla="*/ 2147483647 w 536"/>
                <a:gd name="T15" fmla="*/ 2147483647 h 720"/>
                <a:gd name="T16" fmla="*/ 2147483647 w 536"/>
                <a:gd name="T17" fmla="*/ 2147483647 h 720"/>
                <a:gd name="T18" fmla="*/ 2147483647 w 536"/>
                <a:gd name="T19" fmla="*/ 2147483647 h 720"/>
                <a:gd name="T20" fmla="*/ 2147483647 w 536"/>
                <a:gd name="T21" fmla="*/ 2147483647 h 720"/>
                <a:gd name="T22" fmla="*/ 2147483647 w 536"/>
                <a:gd name="T23" fmla="*/ 2147483647 h 720"/>
                <a:gd name="T24" fmla="*/ 2147483647 w 536"/>
                <a:gd name="T25" fmla="*/ 2147483647 h 720"/>
                <a:gd name="T26" fmla="*/ 2147483647 w 536"/>
                <a:gd name="T27" fmla="*/ 2147483647 h 720"/>
                <a:gd name="T28" fmla="*/ 2147483647 w 536"/>
                <a:gd name="T29" fmla="*/ 2147483647 h 720"/>
                <a:gd name="T30" fmla="*/ 2147483647 w 536"/>
                <a:gd name="T31" fmla="*/ 2147483647 h 720"/>
                <a:gd name="T32" fmla="*/ 2147483647 w 536"/>
                <a:gd name="T33" fmla="*/ 2147483647 h 720"/>
                <a:gd name="T34" fmla="*/ 2147483647 w 536"/>
                <a:gd name="T35" fmla="*/ 2147483647 h 720"/>
                <a:gd name="T36" fmla="*/ 2147483647 w 536"/>
                <a:gd name="T37" fmla="*/ 2147483647 h 720"/>
                <a:gd name="T38" fmla="*/ 2147483647 w 536"/>
                <a:gd name="T39" fmla="*/ 2147483647 h 720"/>
                <a:gd name="T40" fmla="*/ 2147483647 w 536"/>
                <a:gd name="T41" fmla="*/ 2147483647 h 720"/>
                <a:gd name="T42" fmla="*/ 2147483647 w 536"/>
                <a:gd name="T43" fmla="*/ 2147483647 h 720"/>
                <a:gd name="T44" fmla="*/ 2147483647 w 536"/>
                <a:gd name="T45" fmla="*/ 2147483647 h 720"/>
                <a:gd name="T46" fmla="*/ 2147483647 w 536"/>
                <a:gd name="T47" fmla="*/ 2147483647 h 720"/>
                <a:gd name="T48" fmla="*/ 2147483647 w 536"/>
                <a:gd name="T49" fmla="*/ 2147483647 h 720"/>
                <a:gd name="T50" fmla="*/ 2147483647 w 536"/>
                <a:gd name="T51" fmla="*/ 2147483647 h 720"/>
                <a:gd name="T52" fmla="*/ 2147483647 w 536"/>
                <a:gd name="T53" fmla="*/ 2147483647 h 720"/>
                <a:gd name="T54" fmla="*/ 2147483647 w 536"/>
                <a:gd name="T55" fmla="*/ 2147483647 h 720"/>
                <a:gd name="T56" fmla="*/ 2147483647 w 536"/>
                <a:gd name="T57" fmla="*/ 2147483647 h 720"/>
                <a:gd name="T58" fmla="*/ 2147483647 w 536"/>
                <a:gd name="T59" fmla="*/ 2147483647 h 720"/>
                <a:gd name="T60" fmla="*/ 2147483647 w 536"/>
                <a:gd name="T61" fmla="*/ 2147483647 h 720"/>
                <a:gd name="T62" fmla="*/ 2147483647 w 536"/>
                <a:gd name="T63" fmla="*/ 2147483647 h 720"/>
                <a:gd name="T64" fmla="*/ 2147483647 w 536"/>
                <a:gd name="T65" fmla="*/ 2147483647 h 720"/>
                <a:gd name="T66" fmla="*/ 2147483647 w 536"/>
                <a:gd name="T67" fmla="*/ 2147483647 h 720"/>
                <a:gd name="T68" fmla="*/ 2147483647 w 536"/>
                <a:gd name="T69" fmla="*/ 2147483647 h 720"/>
                <a:gd name="T70" fmla="*/ 2147483647 w 536"/>
                <a:gd name="T71" fmla="*/ 2147483647 h 720"/>
                <a:gd name="T72" fmla="*/ 2147483647 w 536"/>
                <a:gd name="T73" fmla="*/ 2147483647 h 720"/>
                <a:gd name="T74" fmla="*/ 2147483647 w 536"/>
                <a:gd name="T75" fmla="*/ 2147483647 h 720"/>
                <a:gd name="T76" fmla="*/ 2147483647 w 536"/>
                <a:gd name="T77" fmla="*/ 2147483647 h 720"/>
                <a:gd name="T78" fmla="*/ 2147483647 w 536"/>
                <a:gd name="T79" fmla="*/ 2147483647 h 720"/>
                <a:gd name="T80" fmla="*/ 2147483647 w 536"/>
                <a:gd name="T81" fmla="*/ 2147483647 h 720"/>
                <a:gd name="T82" fmla="*/ 2147483647 w 536"/>
                <a:gd name="T83" fmla="*/ 2147483647 h 720"/>
                <a:gd name="T84" fmla="*/ 2147483647 w 536"/>
                <a:gd name="T85" fmla="*/ 2147483647 h 720"/>
                <a:gd name="T86" fmla="*/ 2147483647 w 536"/>
                <a:gd name="T87" fmla="*/ 2147483647 h 720"/>
                <a:gd name="T88" fmla="*/ 2147483647 w 536"/>
                <a:gd name="T89" fmla="*/ 2147483647 h 720"/>
                <a:gd name="T90" fmla="*/ 2147483647 w 536"/>
                <a:gd name="T91" fmla="*/ 2147483647 h 720"/>
                <a:gd name="T92" fmla="*/ 2147483647 w 536"/>
                <a:gd name="T93" fmla="*/ 2147483647 h 720"/>
                <a:gd name="T94" fmla="*/ 2147483647 w 536"/>
                <a:gd name="T95" fmla="*/ 2147483647 h 720"/>
                <a:gd name="T96" fmla="*/ 2147483647 w 536"/>
                <a:gd name="T97" fmla="*/ 2147483647 h 720"/>
                <a:gd name="T98" fmla="*/ 2147483647 w 536"/>
                <a:gd name="T99" fmla="*/ 2147483647 h 720"/>
                <a:gd name="T100" fmla="*/ 2147483647 w 536"/>
                <a:gd name="T101" fmla="*/ 2147483647 h 720"/>
                <a:gd name="T102" fmla="*/ 2147483647 w 536"/>
                <a:gd name="T103" fmla="*/ 2147483647 h 7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6"/>
                <a:gd name="T157" fmla="*/ 0 h 720"/>
                <a:gd name="T158" fmla="*/ 536 w 536"/>
                <a:gd name="T159" fmla="*/ 720 h 7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6" h="720">
                  <a:moveTo>
                    <a:pt x="529" y="402"/>
                  </a:moveTo>
                  <a:lnTo>
                    <a:pt x="536" y="366"/>
                  </a:lnTo>
                  <a:lnTo>
                    <a:pt x="533" y="343"/>
                  </a:lnTo>
                  <a:lnTo>
                    <a:pt x="521" y="331"/>
                  </a:lnTo>
                  <a:lnTo>
                    <a:pt x="521" y="323"/>
                  </a:lnTo>
                  <a:lnTo>
                    <a:pt x="508" y="310"/>
                  </a:lnTo>
                  <a:lnTo>
                    <a:pt x="513" y="292"/>
                  </a:lnTo>
                  <a:lnTo>
                    <a:pt x="509" y="267"/>
                  </a:lnTo>
                  <a:lnTo>
                    <a:pt x="498" y="230"/>
                  </a:lnTo>
                  <a:lnTo>
                    <a:pt x="485" y="214"/>
                  </a:lnTo>
                  <a:lnTo>
                    <a:pt x="489" y="200"/>
                  </a:lnTo>
                  <a:lnTo>
                    <a:pt x="497" y="188"/>
                  </a:lnTo>
                  <a:lnTo>
                    <a:pt x="494" y="167"/>
                  </a:lnTo>
                  <a:lnTo>
                    <a:pt x="496" y="142"/>
                  </a:lnTo>
                  <a:lnTo>
                    <a:pt x="504" y="134"/>
                  </a:lnTo>
                  <a:lnTo>
                    <a:pt x="493" y="130"/>
                  </a:lnTo>
                  <a:lnTo>
                    <a:pt x="482" y="118"/>
                  </a:lnTo>
                  <a:lnTo>
                    <a:pt x="474" y="122"/>
                  </a:lnTo>
                  <a:lnTo>
                    <a:pt x="468" y="115"/>
                  </a:lnTo>
                  <a:lnTo>
                    <a:pt x="468" y="106"/>
                  </a:lnTo>
                  <a:lnTo>
                    <a:pt x="460" y="90"/>
                  </a:lnTo>
                  <a:lnTo>
                    <a:pt x="442" y="90"/>
                  </a:lnTo>
                  <a:lnTo>
                    <a:pt x="444" y="82"/>
                  </a:lnTo>
                  <a:lnTo>
                    <a:pt x="458" y="70"/>
                  </a:lnTo>
                  <a:lnTo>
                    <a:pt x="462" y="56"/>
                  </a:lnTo>
                  <a:lnTo>
                    <a:pt x="454" y="42"/>
                  </a:lnTo>
                  <a:lnTo>
                    <a:pt x="442" y="40"/>
                  </a:lnTo>
                  <a:lnTo>
                    <a:pt x="437" y="51"/>
                  </a:lnTo>
                  <a:lnTo>
                    <a:pt x="432" y="64"/>
                  </a:lnTo>
                  <a:lnTo>
                    <a:pt x="432" y="72"/>
                  </a:lnTo>
                  <a:lnTo>
                    <a:pt x="414" y="64"/>
                  </a:lnTo>
                  <a:lnTo>
                    <a:pt x="404" y="70"/>
                  </a:lnTo>
                  <a:lnTo>
                    <a:pt x="397" y="62"/>
                  </a:lnTo>
                  <a:lnTo>
                    <a:pt x="390" y="74"/>
                  </a:lnTo>
                  <a:lnTo>
                    <a:pt x="382" y="75"/>
                  </a:lnTo>
                  <a:lnTo>
                    <a:pt x="376" y="88"/>
                  </a:lnTo>
                  <a:lnTo>
                    <a:pt x="362" y="82"/>
                  </a:lnTo>
                  <a:lnTo>
                    <a:pt x="350" y="87"/>
                  </a:lnTo>
                  <a:lnTo>
                    <a:pt x="344" y="95"/>
                  </a:lnTo>
                  <a:lnTo>
                    <a:pt x="334" y="107"/>
                  </a:lnTo>
                  <a:lnTo>
                    <a:pt x="322" y="99"/>
                  </a:lnTo>
                  <a:lnTo>
                    <a:pt x="309" y="99"/>
                  </a:lnTo>
                  <a:lnTo>
                    <a:pt x="298" y="99"/>
                  </a:lnTo>
                  <a:lnTo>
                    <a:pt x="302" y="84"/>
                  </a:lnTo>
                  <a:lnTo>
                    <a:pt x="316" y="70"/>
                  </a:lnTo>
                  <a:lnTo>
                    <a:pt x="312" y="62"/>
                  </a:lnTo>
                  <a:lnTo>
                    <a:pt x="294" y="71"/>
                  </a:lnTo>
                  <a:lnTo>
                    <a:pt x="288" y="63"/>
                  </a:lnTo>
                  <a:lnTo>
                    <a:pt x="280" y="56"/>
                  </a:lnTo>
                  <a:lnTo>
                    <a:pt x="264" y="54"/>
                  </a:lnTo>
                  <a:lnTo>
                    <a:pt x="258" y="38"/>
                  </a:lnTo>
                  <a:lnTo>
                    <a:pt x="257" y="19"/>
                  </a:lnTo>
                  <a:lnTo>
                    <a:pt x="237" y="14"/>
                  </a:lnTo>
                  <a:lnTo>
                    <a:pt x="217" y="7"/>
                  </a:lnTo>
                  <a:lnTo>
                    <a:pt x="202" y="0"/>
                  </a:lnTo>
                  <a:lnTo>
                    <a:pt x="193" y="10"/>
                  </a:lnTo>
                  <a:lnTo>
                    <a:pt x="204" y="28"/>
                  </a:lnTo>
                  <a:lnTo>
                    <a:pt x="209" y="40"/>
                  </a:lnTo>
                  <a:lnTo>
                    <a:pt x="205" y="48"/>
                  </a:lnTo>
                  <a:lnTo>
                    <a:pt x="196" y="52"/>
                  </a:lnTo>
                  <a:lnTo>
                    <a:pt x="196" y="62"/>
                  </a:lnTo>
                  <a:lnTo>
                    <a:pt x="201" y="74"/>
                  </a:lnTo>
                  <a:lnTo>
                    <a:pt x="201" y="94"/>
                  </a:lnTo>
                  <a:lnTo>
                    <a:pt x="201" y="103"/>
                  </a:lnTo>
                  <a:lnTo>
                    <a:pt x="186" y="106"/>
                  </a:lnTo>
                  <a:lnTo>
                    <a:pt x="178" y="120"/>
                  </a:lnTo>
                  <a:lnTo>
                    <a:pt x="178" y="138"/>
                  </a:lnTo>
                  <a:lnTo>
                    <a:pt x="181" y="152"/>
                  </a:lnTo>
                  <a:lnTo>
                    <a:pt x="174" y="143"/>
                  </a:lnTo>
                  <a:lnTo>
                    <a:pt x="158" y="135"/>
                  </a:lnTo>
                  <a:lnTo>
                    <a:pt x="145" y="114"/>
                  </a:lnTo>
                  <a:lnTo>
                    <a:pt x="128" y="110"/>
                  </a:lnTo>
                  <a:lnTo>
                    <a:pt x="110" y="114"/>
                  </a:lnTo>
                  <a:lnTo>
                    <a:pt x="98" y="124"/>
                  </a:lnTo>
                  <a:lnTo>
                    <a:pt x="100" y="135"/>
                  </a:lnTo>
                  <a:lnTo>
                    <a:pt x="112" y="146"/>
                  </a:lnTo>
                  <a:lnTo>
                    <a:pt x="117" y="158"/>
                  </a:lnTo>
                  <a:lnTo>
                    <a:pt x="102" y="154"/>
                  </a:lnTo>
                  <a:lnTo>
                    <a:pt x="94" y="152"/>
                  </a:lnTo>
                  <a:lnTo>
                    <a:pt x="86" y="178"/>
                  </a:lnTo>
                  <a:lnTo>
                    <a:pt x="77" y="200"/>
                  </a:lnTo>
                  <a:lnTo>
                    <a:pt x="62" y="206"/>
                  </a:lnTo>
                  <a:lnTo>
                    <a:pt x="72" y="222"/>
                  </a:lnTo>
                  <a:lnTo>
                    <a:pt x="80" y="232"/>
                  </a:lnTo>
                  <a:lnTo>
                    <a:pt x="72" y="250"/>
                  </a:lnTo>
                  <a:lnTo>
                    <a:pt x="54" y="262"/>
                  </a:lnTo>
                  <a:lnTo>
                    <a:pt x="44" y="280"/>
                  </a:lnTo>
                  <a:lnTo>
                    <a:pt x="26" y="274"/>
                  </a:lnTo>
                  <a:lnTo>
                    <a:pt x="16" y="276"/>
                  </a:lnTo>
                  <a:lnTo>
                    <a:pt x="16" y="292"/>
                  </a:lnTo>
                  <a:lnTo>
                    <a:pt x="13" y="318"/>
                  </a:lnTo>
                  <a:lnTo>
                    <a:pt x="13" y="340"/>
                  </a:lnTo>
                  <a:lnTo>
                    <a:pt x="8" y="351"/>
                  </a:lnTo>
                  <a:lnTo>
                    <a:pt x="8" y="371"/>
                  </a:lnTo>
                  <a:lnTo>
                    <a:pt x="8" y="387"/>
                  </a:lnTo>
                  <a:lnTo>
                    <a:pt x="13" y="400"/>
                  </a:lnTo>
                  <a:lnTo>
                    <a:pt x="8" y="420"/>
                  </a:lnTo>
                  <a:lnTo>
                    <a:pt x="0" y="434"/>
                  </a:lnTo>
                  <a:lnTo>
                    <a:pt x="8" y="439"/>
                  </a:lnTo>
                  <a:lnTo>
                    <a:pt x="0" y="455"/>
                  </a:lnTo>
                  <a:lnTo>
                    <a:pt x="12" y="466"/>
                  </a:lnTo>
                  <a:lnTo>
                    <a:pt x="10" y="499"/>
                  </a:lnTo>
                  <a:lnTo>
                    <a:pt x="28" y="528"/>
                  </a:lnTo>
                  <a:lnTo>
                    <a:pt x="93" y="546"/>
                  </a:lnTo>
                  <a:lnTo>
                    <a:pt x="106" y="564"/>
                  </a:lnTo>
                  <a:lnTo>
                    <a:pt x="94" y="596"/>
                  </a:lnTo>
                  <a:lnTo>
                    <a:pt x="77" y="606"/>
                  </a:lnTo>
                  <a:lnTo>
                    <a:pt x="65" y="627"/>
                  </a:lnTo>
                  <a:lnTo>
                    <a:pt x="65" y="651"/>
                  </a:lnTo>
                  <a:lnTo>
                    <a:pt x="64" y="684"/>
                  </a:lnTo>
                  <a:lnTo>
                    <a:pt x="74" y="695"/>
                  </a:lnTo>
                  <a:lnTo>
                    <a:pt x="152" y="687"/>
                  </a:lnTo>
                  <a:lnTo>
                    <a:pt x="194" y="707"/>
                  </a:lnTo>
                  <a:lnTo>
                    <a:pt x="212" y="702"/>
                  </a:lnTo>
                  <a:lnTo>
                    <a:pt x="229" y="720"/>
                  </a:lnTo>
                  <a:lnTo>
                    <a:pt x="244" y="720"/>
                  </a:lnTo>
                  <a:lnTo>
                    <a:pt x="258" y="706"/>
                  </a:lnTo>
                  <a:lnTo>
                    <a:pt x="268" y="706"/>
                  </a:lnTo>
                  <a:lnTo>
                    <a:pt x="288" y="719"/>
                  </a:lnTo>
                  <a:lnTo>
                    <a:pt x="301" y="718"/>
                  </a:lnTo>
                  <a:lnTo>
                    <a:pt x="314" y="710"/>
                  </a:lnTo>
                  <a:lnTo>
                    <a:pt x="328" y="702"/>
                  </a:lnTo>
                  <a:lnTo>
                    <a:pt x="360" y="699"/>
                  </a:lnTo>
                  <a:lnTo>
                    <a:pt x="382" y="699"/>
                  </a:lnTo>
                  <a:lnTo>
                    <a:pt x="396" y="702"/>
                  </a:lnTo>
                  <a:lnTo>
                    <a:pt x="401" y="710"/>
                  </a:lnTo>
                  <a:lnTo>
                    <a:pt x="410" y="700"/>
                  </a:lnTo>
                  <a:lnTo>
                    <a:pt x="405" y="686"/>
                  </a:lnTo>
                  <a:lnTo>
                    <a:pt x="402" y="662"/>
                  </a:lnTo>
                  <a:lnTo>
                    <a:pt x="408" y="644"/>
                  </a:lnTo>
                  <a:lnTo>
                    <a:pt x="425" y="638"/>
                  </a:lnTo>
                  <a:lnTo>
                    <a:pt x="433" y="636"/>
                  </a:lnTo>
                  <a:lnTo>
                    <a:pt x="437" y="622"/>
                  </a:lnTo>
                  <a:lnTo>
                    <a:pt x="448" y="616"/>
                  </a:lnTo>
                  <a:lnTo>
                    <a:pt x="460" y="603"/>
                  </a:lnTo>
                  <a:lnTo>
                    <a:pt x="460" y="591"/>
                  </a:lnTo>
                  <a:lnTo>
                    <a:pt x="448" y="586"/>
                  </a:lnTo>
                  <a:lnTo>
                    <a:pt x="429" y="564"/>
                  </a:lnTo>
                  <a:lnTo>
                    <a:pt x="406" y="544"/>
                  </a:lnTo>
                  <a:lnTo>
                    <a:pt x="390" y="531"/>
                  </a:lnTo>
                  <a:lnTo>
                    <a:pt x="381" y="516"/>
                  </a:lnTo>
                  <a:lnTo>
                    <a:pt x="372" y="494"/>
                  </a:lnTo>
                  <a:lnTo>
                    <a:pt x="369" y="471"/>
                  </a:lnTo>
                  <a:lnTo>
                    <a:pt x="357" y="462"/>
                  </a:lnTo>
                  <a:lnTo>
                    <a:pt x="353" y="454"/>
                  </a:lnTo>
                  <a:lnTo>
                    <a:pt x="362" y="447"/>
                  </a:lnTo>
                  <a:lnTo>
                    <a:pt x="373" y="459"/>
                  </a:lnTo>
                  <a:lnTo>
                    <a:pt x="387" y="450"/>
                  </a:lnTo>
                  <a:lnTo>
                    <a:pt x="404" y="439"/>
                  </a:lnTo>
                  <a:lnTo>
                    <a:pt x="430" y="435"/>
                  </a:lnTo>
                  <a:lnTo>
                    <a:pt x="448" y="411"/>
                  </a:lnTo>
                  <a:lnTo>
                    <a:pt x="462" y="410"/>
                  </a:lnTo>
                  <a:lnTo>
                    <a:pt x="489" y="402"/>
                  </a:lnTo>
                  <a:lnTo>
                    <a:pt x="490" y="383"/>
                  </a:lnTo>
                  <a:lnTo>
                    <a:pt x="500" y="382"/>
                  </a:lnTo>
                  <a:lnTo>
                    <a:pt x="510" y="391"/>
                  </a:lnTo>
                  <a:lnTo>
                    <a:pt x="518" y="398"/>
                  </a:lnTo>
                  <a:lnTo>
                    <a:pt x="529" y="40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89" name="Freeform 9"/>
            <p:cNvSpPr>
              <a:spLocks/>
            </p:cNvSpPr>
            <p:nvPr/>
          </p:nvSpPr>
          <p:spPr bwMode="auto">
            <a:xfrm>
              <a:off x="1140949" y="3773072"/>
              <a:ext cx="2523596" cy="2497601"/>
            </a:xfrm>
            <a:custGeom>
              <a:avLst/>
              <a:gdLst>
                <a:gd name="T0" fmla="*/ 2147483647 w 806"/>
                <a:gd name="T1" fmla="*/ 2147483647 h 979"/>
                <a:gd name="T2" fmla="*/ 2147483647 w 806"/>
                <a:gd name="T3" fmla="*/ 2147483647 h 979"/>
                <a:gd name="T4" fmla="*/ 2147483647 w 806"/>
                <a:gd name="T5" fmla="*/ 2147483647 h 979"/>
                <a:gd name="T6" fmla="*/ 2147483647 w 806"/>
                <a:gd name="T7" fmla="*/ 2147483647 h 979"/>
                <a:gd name="T8" fmla="*/ 2147483647 w 806"/>
                <a:gd name="T9" fmla="*/ 2147483647 h 979"/>
                <a:gd name="T10" fmla="*/ 2147483647 w 806"/>
                <a:gd name="T11" fmla="*/ 2147483647 h 979"/>
                <a:gd name="T12" fmla="*/ 2147483647 w 806"/>
                <a:gd name="T13" fmla="*/ 2147483647 h 979"/>
                <a:gd name="T14" fmla="*/ 2147483647 w 806"/>
                <a:gd name="T15" fmla="*/ 2147483647 h 979"/>
                <a:gd name="T16" fmla="*/ 2147483647 w 806"/>
                <a:gd name="T17" fmla="*/ 2147483647 h 979"/>
                <a:gd name="T18" fmla="*/ 2147483647 w 806"/>
                <a:gd name="T19" fmla="*/ 2147483647 h 979"/>
                <a:gd name="T20" fmla="*/ 2147483647 w 806"/>
                <a:gd name="T21" fmla="*/ 2147483647 h 979"/>
                <a:gd name="T22" fmla="*/ 2147483647 w 806"/>
                <a:gd name="T23" fmla="*/ 2147483647 h 979"/>
                <a:gd name="T24" fmla="*/ 2147483647 w 806"/>
                <a:gd name="T25" fmla="*/ 2147483647 h 979"/>
                <a:gd name="T26" fmla="*/ 2147483647 w 806"/>
                <a:gd name="T27" fmla="*/ 2147483647 h 979"/>
                <a:gd name="T28" fmla="*/ 2147483647 w 806"/>
                <a:gd name="T29" fmla="*/ 2147483647 h 979"/>
                <a:gd name="T30" fmla="*/ 2147483647 w 806"/>
                <a:gd name="T31" fmla="*/ 2147483647 h 979"/>
                <a:gd name="T32" fmla="*/ 2147483647 w 806"/>
                <a:gd name="T33" fmla="*/ 2147483647 h 979"/>
                <a:gd name="T34" fmla="*/ 2147483647 w 806"/>
                <a:gd name="T35" fmla="*/ 2147483647 h 979"/>
                <a:gd name="T36" fmla="*/ 2147483647 w 806"/>
                <a:gd name="T37" fmla="*/ 2147483647 h 979"/>
                <a:gd name="T38" fmla="*/ 2147483647 w 806"/>
                <a:gd name="T39" fmla="*/ 2147483647 h 979"/>
                <a:gd name="T40" fmla="*/ 2147483647 w 806"/>
                <a:gd name="T41" fmla="*/ 2147483647 h 979"/>
                <a:gd name="T42" fmla="*/ 2147483647 w 806"/>
                <a:gd name="T43" fmla="*/ 2147483647 h 979"/>
                <a:gd name="T44" fmla="*/ 2147483647 w 806"/>
                <a:gd name="T45" fmla="*/ 2147483647 h 979"/>
                <a:gd name="T46" fmla="*/ 2147483647 w 806"/>
                <a:gd name="T47" fmla="*/ 2147483647 h 979"/>
                <a:gd name="T48" fmla="*/ 2147483647 w 806"/>
                <a:gd name="T49" fmla="*/ 2147483647 h 979"/>
                <a:gd name="T50" fmla="*/ 2147483647 w 806"/>
                <a:gd name="T51" fmla="*/ 2147483647 h 979"/>
                <a:gd name="T52" fmla="*/ 2147483647 w 806"/>
                <a:gd name="T53" fmla="*/ 2147483647 h 979"/>
                <a:gd name="T54" fmla="*/ 2147483647 w 806"/>
                <a:gd name="T55" fmla="*/ 2147483647 h 979"/>
                <a:gd name="T56" fmla="*/ 2147483647 w 806"/>
                <a:gd name="T57" fmla="*/ 2147483647 h 979"/>
                <a:gd name="T58" fmla="*/ 2147483647 w 806"/>
                <a:gd name="T59" fmla="*/ 2147483647 h 979"/>
                <a:gd name="T60" fmla="*/ 2147483647 w 806"/>
                <a:gd name="T61" fmla="*/ 2147483647 h 979"/>
                <a:gd name="T62" fmla="*/ 2147483647 w 806"/>
                <a:gd name="T63" fmla="*/ 2147483647 h 979"/>
                <a:gd name="T64" fmla="*/ 2147483647 w 806"/>
                <a:gd name="T65" fmla="*/ 2147483647 h 979"/>
                <a:gd name="T66" fmla="*/ 2147483647 w 806"/>
                <a:gd name="T67" fmla="*/ 2147483647 h 979"/>
                <a:gd name="T68" fmla="*/ 2147483647 w 806"/>
                <a:gd name="T69" fmla="*/ 2147483647 h 979"/>
                <a:gd name="T70" fmla="*/ 2147483647 w 806"/>
                <a:gd name="T71" fmla="*/ 2147483647 h 979"/>
                <a:gd name="T72" fmla="*/ 2147483647 w 806"/>
                <a:gd name="T73" fmla="*/ 2147483647 h 979"/>
                <a:gd name="T74" fmla="*/ 2147483647 w 806"/>
                <a:gd name="T75" fmla="*/ 2147483647 h 979"/>
                <a:gd name="T76" fmla="*/ 2147483647 w 806"/>
                <a:gd name="T77" fmla="*/ 2147483647 h 979"/>
                <a:gd name="T78" fmla="*/ 2147483647 w 806"/>
                <a:gd name="T79" fmla="*/ 2147483647 h 979"/>
                <a:gd name="T80" fmla="*/ 2147483647 w 806"/>
                <a:gd name="T81" fmla="*/ 2147483647 h 979"/>
                <a:gd name="T82" fmla="*/ 2147483647 w 806"/>
                <a:gd name="T83" fmla="*/ 2147483647 h 979"/>
                <a:gd name="T84" fmla="*/ 2147483647 w 806"/>
                <a:gd name="T85" fmla="*/ 2147483647 h 979"/>
                <a:gd name="T86" fmla="*/ 2147483647 w 806"/>
                <a:gd name="T87" fmla="*/ 2147483647 h 979"/>
                <a:gd name="T88" fmla="*/ 2147483647 w 806"/>
                <a:gd name="T89" fmla="*/ 2147483647 h 979"/>
                <a:gd name="T90" fmla="*/ 2147483647 w 806"/>
                <a:gd name="T91" fmla="*/ 2147483647 h 979"/>
                <a:gd name="T92" fmla="*/ 2147483647 w 806"/>
                <a:gd name="T93" fmla="*/ 2147483647 h 979"/>
                <a:gd name="T94" fmla="*/ 2147483647 w 806"/>
                <a:gd name="T95" fmla="*/ 2147483647 h 979"/>
                <a:gd name="T96" fmla="*/ 2147483647 w 806"/>
                <a:gd name="T97" fmla="*/ 2147483647 h 979"/>
                <a:gd name="T98" fmla="*/ 2147483647 w 806"/>
                <a:gd name="T99" fmla="*/ 2147483647 h 979"/>
                <a:gd name="T100" fmla="*/ 2147483647 w 806"/>
                <a:gd name="T101" fmla="*/ 2147483647 h 979"/>
                <a:gd name="T102" fmla="*/ 2147483647 w 806"/>
                <a:gd name="T103" fmla="*/ 2147483647 h 979"/>
                <a:gd name="T104" fmla="*/ 2147483647 w 806"/>
                <a:gd name="T105" fmla="*/ 2147483647 h 979"/>
                <a:gd name="T106" fmla="*/ 2147483647 w 806"/>
                <a:gd name="T107" fmla="*/ 2147483647 h 979"/>
                <a:gd name="T108" fmla="*/ 2147483647 w 806"/>
                <a:gd name="T109" fmla="*/ 2147483647 h 979"/>
                <a:gd name="T110" fmla="*/ 2147483647 w 806"/>
                <a:gd name="T111" fmla="*/ 2147483647 h 979"/>
                <a:gd name="T112" fmla="*/ 2147483647 w 806"/>
                <a:gd name="T113" fmla="*/ 2147483647 h 979"/>
                <a:gd name="T114" fmla="*/ 2147483647 w 806"/>
                <a:gd name="T115" fmla="*/ 2147483647 h 979"/>
                <a:gd name="T116" fmla="*/ 2147483647 w 806"/>
                <a:gd name="T117" fmla="*/ 2147483647 h 979"/>
                <a:gd name="T118" fmla="*/ 2147483647 w 806"/>
                <a:gd name="T119" fmla="*/ 2147483647 h 979"/>
                <a:gd name="T120" fmla="*/ 2147483647 w 806"/>
                <a:gd name="T121" fmla="*/ 2147483647 h 97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06"/>
                <a:gd name="T184" fmla="*/ 0 h 979"/>
                <a:gd name="T185" fmla="*/ 806 w 806"/>
                <a:gd name="T186" fmla="*/ 979 h 97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06" h="979">
                  <a:moveTo>
                    <a:pt x="592" y="839"/>
                  </a:moveTo>
                  <a:lnTo>
                    <a:pt x="590" y="855"/>
                  </a:lnTo>
                  <a:lnTo>
                    <a:pt x="567" y="903"/>
                  </a:lnTo>
                  <a:lnTo>
                    <a:pt x="567" y="919"/>
                  </a:lnTo>
                  <a:lnTo>
                    <a:pt x="574" y="936"/>
                  </a:lnTo>
                  <a:lnTo>
                    <a:pt x="572" y="963"/>
                  </a:lnTo>
                  <a:lnTo>
                    <a:pt x="568" y="972"/>
                  </a:lnTo>
                  <a:lnTo>
                    <a:pt x="559" y="979"/>
                  </a:lnTo>
                  <a:lnTo>
                    <a:pt x="536" y="979"/>
                  </a:lnTo>
                  <a:lnTo>
                    <a:pt x="510" y="964"/>
                  </a:lnTo>
                  <a:lnTo>
                    <a:pt x="490" y="944"/>
                  </a:lnTo>
                  <a:lnTo>
                    <a:pt x="472" y="945"/>
                  </a:lnTo>
                  <a:lnTo>
                    <a:pt x="454" y="928"/>
                  </a:lnTo>
                  <a:lnTo>
                    <a:pt x="408" y="899"/>
                  </a:lnTo>
                  <a:lnTo>
                    <a:pt x="386" y="893"/>
                  </a:lnTo>
                  <a:lnTo>
                    <a:pt x="368" y="873"/>
                  </a:lnTo>
                  <a:lnTo>
                    <a:pt x="370" y="849"/>
                  </a:lnTo>
                  <a:lnTo>
                    <a:pt x="380" y="841"/>
                  </a:lnTo>
                  <a:lnTo>
                    <a:pt x="398" y="849"/>
                  </a:lnTo>
                  <a:lnTo>
                    <a:pt x="427" y="835"/>
                  </a:lnTo>
                  <a:lnTo>
                    <a:pt x="443" y="843"/>
                  </a:lnTo>
                  <a:lnTo>
                    <a:pt x="456" y="852"/>
                  </a:lnTo>
                  <a:lnTo>
                    <a:pt x="466" y="859"/>
                  </a:lnTo>
                  <a:lnTo>
                    <a:pt x="480" y="852"/>
                  </a:lnTo>
                  <a:lnTo>
                    <a:pt x="523" y="853"/>
                  </a:lnTo>
                  <a:lnTo>
                    <a:pt x="535" y="848"/>
                  </a:lnTo>
                  <a:lnTo>
                    <a:pt x="540" y="840"/>
                  </a:lnTo>
                  <a:lnTo>
                    <a:pt x="570" y="840"/>
                  </a:lnTo>
                  <a:lnTo>
                    <a:pt x="578" y="835"/>
                  </a:lnTo>
                  <a:lnTo>
                    <a:pt x="594" y="831"/>
                  </a:lnTo>
                  <a:lnTo>
                    <a:pt x="603" y="829"/>
                  </a:lnTo>
                  <a:lnTo>
                    <a:pt x="606" y="855"/>
                  </a:lnTo>
                  <a:lnTo>
                    <a:pt x="611" y="865"/>
                  </a:lnTo>
                  <a:lnTo>
                    <a:pt x="624" y="867"/>
                  </a:lnTo>
                  <a:lnTo>
                    <a:pt x="640" y="855"/>
                  </a:lnTo>
                  <a:lnTo>
                    <a:pt x="647" y="841"/>
                  </a:lnTo>
                  <a:lnTo>
                    <a:pt x="654" y="825"/>
                  </a:lnTo>
                  <a:lnTo>
                    <a:pt x="667" y="821"/>
                  </a:lnTo>
                  <a:lnTo>
                    <a:pt x="672" y="811"/>
                  </a:lnTo>
                  <a:lnTo>
                    <a:pt x="675" y="803"/>
                  </a:lnTo>
                  <a:lnTo>
                    <a:pt x="674" y="777"/>
                  </a:lnTo>
                  <a:lnTo>
                    <a:pt x="699" y="767"/>
                  </a:lnTo>
                  <a:lnTo>
                    <a:pt x="712" y="749"/>
                  </a:lnTo>
                  <a:lnTo>
                    <a:pt x="714" y="729"/>
                  </a:lnTo>
                  <a:lnTo>
                    <a:pt x="708" y="713"/>
                  </a:lnTo>
                  <a:lnTo>
                    <a:pt x="690" y="704"/>
                  </a:lnTo>
                  <a:lnTo>
                    <a:pt x="671" y="688"/>
                  </a:lnTo>
                  <a:lnTo>
                    <a:pt x="663" y="672"/>
                  </a:lnTo>
                  <a:lnTo>
                    <a:pt x="667" y="681"/>
                  </a:lnTo>
                  <a:lnTo>
                    <a:pt x="670" y="665"/>
                  </a:lnTo>
                  <a:lnTo>
                    <a:pt x="672" y="649"/>
                  </a:lnTo>
                  <a:lnTo>
                    <a:pt x="687" y="628"/>
                  </a:lnTo>
                  <a:lnTo>
                    <a:pt x="711" y="616"/>
                  </a:lnTo>
                  <a:lnTo>
                    <a:pt x="726" y="623"/>
                  </a:lnTo>
                  <a:lnTo>
                    <a:pt x="735" y="632"/>
                  </a:lnTo>
                  <a:lnTo>
                    <a:pt x="752" y="636"/>
                  </a:lnTo>
                  <a:lnTo>
                    <a:pt x="766" y="637"/>
                  </a:lnTo>
                  <a:lnTo>
                    <a:pt x="771" y="651"/>
                  </a:lnTo>
                  <a:lnTo>
                    <a:pt x="783" y="668"/>
                  </a:lnTo>
                  <a:lnTo>
                    <a:pt x="792" y="673"/>
                  </a:lnTo>
                  <a:lnTo>
                    <a:pt x="803" y="661"/>
                  </a:lnTo>
                  <a:lnTo>
                    <a:pt x="806" y="645"/>
                  </a:lnTo>
                  <a:lnTo>
                    <a:pt x="798" y="632"/>
                  </a:lnTo>
                  <a:lnTo>
                    <a:pt x="774" y="605"/>
                  </a:lnTo>
                  <a:lnTo>
                    <a:pt x="763" y="591"/>
                  </a:lnTo>
                  <a:lnTo>
                    <a:pt x="752" y="591"/>
                  </a:lnTo>
                  <a:lnTo>
                    <a:pt x="738" y="584"/>
                  </a:lnTo>
                  <a:lnTo>
                    <a:pt x="723" y="584"/>
                  </a:lnTo>
                  <a:lnTo>
                    <a:pt x="706" y="565"/>
                  </a:lnTo>
                  <a:lnTo>
                    <a:pt x="680" y="553"/>
                  </a:lnTo>
                  <a:lnTo>
                    <a:pt x="640" y="540"/>
                  </a:lnTo>
                  <a:lnTo>
                    <a:pt x="619" y="525"/>
                  </a:lnTo>
                  <a:lnTo>
                    <a:pt x="623" y="512"/>
                  </a:lnTo>
                  <a:lnTo>
                    <a:pt x="635" y="499"/>
                  </a:lnTo>
                  <a:lnTo>
                    <a:pt x="636" y="483"/>
                  </a:lnTo>
                  <a:lnTo>
                    <a:pt x="622" y="479"/>
                  </a:lnTo>
                  <a:lnTo>
                    <a:pt x="595" y="485"/>
                  </a:lnTo>
                  <a:lnTo>
                    <a:pt x="566" y="485"/>
                  </a:lnTo>
                  <a:lnTo>
                    <a:pt x="566" y="499"/>
                  </a:lnTo>
                  <a:lnTo>
                    <a:pt x="548" y="473"/>
                  </a:lnTo>
                  <a:lnTo>
                    <a:pt x="530" y="463"/>
                  </a:lnTo>
                  <a:lnTo>
                    <a:pt x="526" y="448"/>
                  </a:lnTo>
                  <a:lnTo>
                    <a:pt x="488" y="415"/>
                  </a:lnTo>
                  <a:lnTo>
                    <a:pt x="470" y="351"/>
                  </a:lnTo>
                  <a:lnTo>
                    <a:pt x="456" y="324"/>
                  </a:lnTo>
                  <a:lnTo>
                    <a:pt x="434" y="312"/>
                  </a:lnTo>
                  <a:lnTo>
                    <a:pt x="398" y="287"/>
                  </a:lnTo>
                  <a:lnTo>
                    <a:pt x="374" y="257"/>
                  </a:lnTo>
                  <a:lnTo>
                    <a:pt x="374" y="209"/>
                  </a:lnTo>
                  <a:lnTo>
                    <a:pt x="386" y="199"/>
                  </a:lnTo>
                  <a:lnTo>
                    <a:pt x="379" y="183"/>
                  </a:lnTo>
                  <a:lnTo>
                    <a:pt x="371" y="175"/>
                  </a:lnTo>
                  <a:lnTo>
                    <a:pt x="368" y="153"/>
                  </a:lnTo>
                  <a:lnTo>
                    <a:pt x="387" y="148"/>
                  </a:lnTo>
                  <a:lnTo>
                    <a:pt x="410" y="144"/>
                  </a:lnTo>
                  <a:lnTo>
                    <a:pt x="430" y="129"/>
                  </a:lnTo>
                  <a:lnTo>
                    <a:pt x="450" y="127"/>
                  </a:lnTo>
                  <a:lnTo>
                    <a:pt x="468" y="124"/>
                  </a:lnTo>
                  <a:lnTo>
                    <a:pt x="458" y="115"/>
                  </a:lnTo>
                  <a:lnTo>
                    <a:pt x="460" y="99"/>
                  </a:lnTo>
                  <a:lnTo>
                    <a:pt x="452" y="93"/>
                  </a:lnTo>
                  <a:lnTo>
                    <a:pt x="458" y="81"/>
                  </a:lnTo>
                  <a:lnTo>
                    <a:pt x="448" y="67"/>
                  </a:lnTo>
                  <a:lnTo>
                    <a:pt x="459" y="49"/>
                  </a:lnTo>
                  <a:lnTo>
                    <a:pt x="427" y="41"/>
                  </a:lnTo>
                  <a:lnTo>
                    <a:pt x="404" y="44"/>
                  </a:lnTo>
                  <a:lnTo>
                    <a:pt x="378" y="29"/>
                  </a:lnTo>
                  <a:lnTo>
                    <a:pt x="367" y="7"/>
                  </a:lnTo>
                  <a:lnTo>
                    <a:pt x="360" y="0"/>
                  </a:lnTo>
                  <a:lnTo>
                    <a:pt x="350" y="1"/>
                  </a:lnTo>
                  <a:lnTo>
                    <a:pt x="302" y="11"/>
                  </a:lnTo>
                  <a:lnTo>
                    <a:pt x="291" y="15"/>
                  </a:lnTo>
                  <a:lnTo>
                    <a:pt x="258" y="11"/>
                  </a:lnTo>
                  <a:lnTo>
                    <a:pt x="252" y="35"/>
                  </a:lnTo>
                  <a:lnTo>
                    <a:pt x="232" y="39"/>
                  </a:lnTo>
                  <a:lnTo>
                    <a:pt x="235" y="53"/>
                  </a:lnTo>
                  <a:lnTo>
                    <a:pt x="230" y="64"/>
                  </a:lnTo>
                  <a:lnTo>
                    <a:pt x="216" y="60"/>
                  </a:lnTo>
                  <a:lnTo>
                    <a:pt x="198" y="56"/>
                  </a:lnTo>
                  <a:lnTo>
                    <a:pt x="187" y="49"/>
                  </a:lnTo>
                  <a:lnTo>
                    <a:pt x="172" y="59"/>
                  </a:lnTo>
                  <a:lnTo>
                    <a:pt x="166" y="75"/>
                  </a:lnTo>
                  <a:lnTo>
                    <a:pt x="154" y="95"/>
                  </a:lnTo>
                  <a:lnTo>
                    <a:pt x="130" y="67"/>
                  </a:lnTo>
                  <a:lnTo>
                    <a:pt x="124" y="49"/>
                  </a:lnTo>
                  <a:lnTo>
                    <a:pt x="106" y="52"/>
                  </a:lnTo>
                  <a:lnTo>
                    <a:pt x="98" y="67"/>
                  </a:lnTo>
                  <a:lnTo>
                    <a:pt x="80" y="87"/>
                  </a:lnTo>
                  <a:lnTo>
                    <a:pt x="66" y="83"/>
                  </a:lnTo>
                  <a:lnTo>
                    <a:pt x="26" y="74"/>
                  </a:lnTo>
                  <a:lnTo>
                    <a:pt x="16" y="83"/>
                  </a:lnTo>
                  <a:lnTo>
                    <a:pt x="15" y="103"/>
                  </a:lnTo>
                  <a:lnTo>
                    <a:pt x="17" y="127"/>
                  </a:lnTo>
                  <a:lnTo>
                    <a:pt x="23" y="143"/>
                  </a:lnTo>
                  <a:lnTo>
                    <a:pt x="12" y="153"/>
                  </a:lnTo>
                  <a:lnTo>
                    <a:pt x="0" y="167"/>
                  </a:lnTo>
                  <a:lnTo>
                    <a:pt x="7" y="181"/>
                  </a:lnTo>
                  <a:lnTo>
                    <a:pt x="14" y="189"/>
                  </a:lnTo>
                  <a:lnTo>
                    <a:pt x="6" y="211"/>
                  </a:lnTo>
                  <a:lnTo>
                    <a:pt x="12" y="237"/>
                  </a:lnTo>
                  <a:lnTo>
                    <a:pt x="16" y="247"/>
                  </a:lnTo>
                  <a:lnTo>
                    <a:pt x="35" y="252"/>
                  </a:lnTo>
                  <a:lnTo>
                    <a:pt x="47" y="252"/>
                  </a:lnTo>
                  <a:lnTo>
                    <a:pt x="54" y="269"/>
                  </a:lnTo>
                  <a:lnTo>
                    <a:pt x="55" y="284"/>
                  </a:lnTo>
                  <a:lnTo>
                    <a:pt x="70" y="284"/>
                  </a:lnTo>
                  <a:lnTo>
                    <a:pt x="91" y="276"/>
                  </a:lnTo>
                  <a:lnTo>
                    <a:pt x="98" y="263"/>
                  </a:lnTo>
                  <a:lnTo>
                    <a:pt x="107" y="251"/>
                  </a:lnTo>
                  <a:lnTo>
                    <a:pt x="124" y="240"/>
                  </a:lnTo>
                  <a:lnTo>
                    <a:pt x="134" y="232"/>
                  </a:lnTo>
                  <a:lnTo>
                    <a:pt x="148" y="236"/>
                  </a:lnTo>
                  <a:lnTo>
                    <a:pt x="179" y="253"/>
                  </a:lnTo>
                  <a:lnTo>
                    <a:pt x="199" y="269"/>
                  </a:lnTo>
                  <a:lnTo>
                    <a:pt x="219" y="280"/>
                  </a:lnTo>
                  <a:lnTo>
                    <a:pt x="234" y="292"/>
                  </a:lnTo>
                  <a:lnTo>
                    <a:pt x="232" y="315"/>
                  </a:lnTo>
                  <a:lnTo>
                    <a:pt x="243" y="339"/>
                  </a:lnTo>
                  <a:lnTo>
                    <a:pt x="246" y="356"/>
                  </a:lnTo>
                  <a:lnTo>
                    <a:pt x="251" y="375"/>
                  </a:lnTo>
                  <a:lnTo>
                    <a:pt x="283" y="416"/>
                  </a:lnTo>
                  <a:lnTo>
                    <a:pt x="286" y="435"/>
                  </a:lnTo>
                  <a:lnTo>
                    <a:pt x="304" y="432"/>
                  </a:lnTo>
                  <a:lnTo>
                    <a:pt x="335" y="467"/>
                  </a:lnTo>
                  <a:lnTo>
                    <a:pt x="368" y="505"/>
                  </a:lnTo>
                  <a:lnTo>
                    <a:pt x="418" y="549"/>
                  </a:lnTo>
                  <a:lnTo>
                    <a:pt x="466" y="549"/>
                  </a:lnTo>
                  <a:lnTo>
                    <a:pt x="491" y="584"/>
                  </a:lnTo>
                  <a:lnTo>
                    <a:pt x="506" y="593"/>
                  </a:lnTo>
                  <a:lnTo>
                    <a:pt x="518" y="609"/>
                  </a:lnTo>
                  <a:lnTo>
                    <a:pt x="543" y="609"/>
                  </a:lnTo>
                  <a:lnTo>
                    <a:pt x="552" y="624"/>
                  </a:lnTo>
                  <a:lnTo>
                    <a:pt x="554" y="643"/>
                  </a:lnTo>
                  <a:lnTo>
                    <a:pt x="590" y="673"/>
                  </a:lnTo>
                  <a:lnTo>
                    <a:pt x="603" y="660"/>
                  </a:lnTo>
                  <a:lnTo>
                    <a:pt x="615" y="699"/>
                  </a:lnTo>
                  <a:lnTo>
                    <a:pt x="630" y="721"/>
                  </a:lnTo>
                  <a:lnTo>
                    <a:pt x="635" y="740"/>
                  </a:lnTo>
                  <a:lnTo>
                    <a:pt x="647" y="776"/>
                  </a:lnTo>
                  <a:lnTo>
                    <a:pt x="624" y="787"/>
                  </a:lnTo>
                  <a:lnTo>
                    <a:pt x="620" y="801"/>
                  </a:lnTo>
                  <a:lnTo>
                    <a:pt x="616" y="820"/>
                  </a:lnTo>
                  <a:lnTo>
                    <a:pt x="604" y="832"/>
                  </a:lnTo>
                  <a:lnTo>
                    <a:pt x="596" y="829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8" name="Freeform 10"/>
            <p:cNvSpPr>
              <a:spLocks/>
            </p:cNvSpPr>
            <p:nvPr/>
          </p:nvSpPr>
          <p:spPr bwMode="auto">
            <a:xfrm>
              <a:off x="4282934" y="2136596"/>
              <a:ext cx="3452964" cy="1903718"/>
            </a:xfrm>
            <a:custGeom>
              <a:avLst/>
              <a:gdLst>
                <a:gd name="T0" fmla="*/ 2147483647 w 1101"/>
                <a:gd name="T1" fmla="*/ 2147483647 h 747"/>
                <a:gd name="T2" fmla="*/ 2147483647 w 1101"/>
                <a:gd name="T3" fmla="*/ 2147483647 h 747"/>
                <a:gd name="T4" fmla="*/ 2147483647 w 1101"/>
                <a:gd name="T5" fmla="*/ 2147483647 h 747"/>
                <a:gd name="T6" fmla="*/ 2147483647 w 1101"/>
                <a:gd name="T7" fmla="*/ 2147483647 h 747"/>
                <a:gd name="T8" fmla="*/ 2147483647 w 1101"/>
                <a:gd name="T9" fmla="*/ 2147483647 h 747"/>
                <a:gd name="T10" fmla="*/ 2147483647 w 1101"/>
                <a:gd name="T11" fmla="*/ 2147483647 h 747"/>
                <a:gd name="T12" fmla="*/ 2147483647 w 1101"/>
                <a:gd name="T13" fmla="*/ 2147483647 h 747"/>
                <a:gd name="T14" fmla="*/ 2147483647 w 1101"/>
                <a:gd name="T15" fmla="*/ 2147483647 h 747"/>
                <a:gd name="T16" fmla="*/ 2147483647 w 1101"/>
                <a:gd name="T17" fmla="*/ 2147483647 h 747"/>
                <a:gd name="T18" fmla="*/ 2147483647 w 1101"/>
                <a:gd name="T19" fmla="*/ 2147483647 h 747"/>
                <a:gd name="T20" fmla="*/ 2147483647 w 1101"/>
                <a:gd name="T21" fmla="*/ 2147483647 h 747"/>
                <a:gd name="T22" fmla="*/ 2147483647 w 1101"/>
                <a:gd name="T23" fmla="*/ 2147483647 h 747"/>
                <a:gd name="T24" fmla="*/ 2147483647 w 1101"/>
                <a:gd name="T25" fmla="*/ 2147483647 h 747"/>
                <a:gd name="T26" fmla="*/ 2147483647 w 1101"/>
                <a:gd name="T27" fmla="*/ 2147483647 h 747"/>
                <a:gd name="T28" fmla="*/ 2147483647 w 1101"/>
                <a:gd name="T29" fmla="*/ 2147483647 h 747"/>
                <a:gd name="T30" fmla="*/ 2147483647 w 1101"/>
                <a:gd name="T31" fmla="*/ 2147483647 h 747"/>
                <a:gd name="T32" fmla="*/ 2147483647 w 1101"/>
                <a:gd name="T33" fmla="*/ 2147483647 h 747"/>
                <a:gd name="T34" fmla="*/ 2147483647 w 1101"/>
                <a:gd name="T35" fmla="*/ 2147483647 h 747"/>
                <a:gd name="T36" fmla="*/ 2147483647 w 1101"/>
                <a:gd name="T37" fmla="*/ 2147483647 h 747"/>
                <a:gd name="T38" fmla="*/ 2147483647 w 1101"/>
                <a:gd name="T39" fmla="*/ 2147483647 h 747"/>
                <a:gd name="T40" fmla="*/ 2147483647 w 1101"/>
                <a:gd name="T41" fmla="*/ 2147483647 h 747"/>
                <a:gd name="T42" fmla="*/ 2147483647 w 1101"/>
                <a:gd name="T43" fmla="*/ 2147483647 h 747"/>
                <a:gd name="T44" fmla="*/ 2147483647 w 1101"/>
                <a:gd name="T45" fmla="*/ 2147483647 h 747"/>
                <a:gd name="T46" fmla="*/ 2147483647 w 1101"/>
                <a:gd name="T47" fmla="*/ 2147483647 h 747"/>
                <a:gd name="T48" fmla="*/ 2147483647 w 1101"/>
                <a:gd name="T49" fmla="*/ 2147483647 h 747"/>
                <a:gd name="T50" fmla="*/ 2147483647 w 1101"/>
                <a:gd name="T51" fmla="*/ 2147483647 h 747"/>
                <a:gd name="T52" fmla="*/ 2147483647 w 1101"/>
                <a:gd name="T53" fmla="*/ 2147483647 h 747"/>
                <a:gd name="T54" fmla="*/ 2147483647 w 1101"/>
                <a:gd name="T55" fmla="*/ 2147483647 h 747"/>
                <a:gd name="T56" fmla="*/ 2147483647 w 1101"/>
                <a:gd name="T57" fmla="*/ 2147483647 h 747"/>
                <a:gd name="T58" fmla="*/ 2147483647 w 1101"/>
                <a:gd name="T59" fmla="*/ 2147483647 h 747"/>
                <a:gd name="T60" fmla="*/ 2147483647 w 1101"/>
                <a:gd name="T61" fmla="*/ 2147483647 h 747"/>
                <a:gd name="T62" fmla="*/ 2147483647 w 1101"/>
                <a:gd name="T63" fmla="*/ 2147483647 h 747"/>
                <a:gd name="T64" fmla="*/ 2147483647 w 1101"/>
                <a:gd name="T65" fmla="*/ 2147483647 h 747"/>
                <a:gd name="T66" fmla="*/ 2147483647 w 1101"/>
                <a:gd name="T67" fmla="*/ 2147483647 h 747"/>
                <a:gd name="T68" fmla="*/ 2147483647 w 1101"/>
                <a:gd name="T69" fmla="*/ 2147483647 h 747"/>
                <a:gd name="T70" fmla="*/ 2147483647 w 1101"/>
                <a:gd name="T71" fmla="*/ 2147483647 h 747"/>
                <a:gd name="T72" fmla="*/ 2147483647 w 1101"/>
                <a:gd name="T73" fmla="*/ 2147483647 h 747"/>
                <a:gd name="T74" fmla="*/ 2147483647 w 1101"/>
                <a:gd name="T75" fmla="*/ 2147483647 h 747"/>
                <a:gd name="T76" fmla="*/ 2147483647 w 1101"/>
                <a:gd name="T77" fmla="*/ 2147483647 h 747"/>
                <a:gd name="T78" fmla="*/ 2147483647 w 1101"/>
                <a:gd name="T79" fmla="*/ 2147483647 h 747"/>
                <a:gd name="T80" fmla="*/ 2147483647 w 1101"/>
                <a:gd name="T81" fmla="*/ 2147483647 h 747"/>
                <a:gd name="T82" fmla="*/ 2147483647 w 1101"/>
                <a:gd name="T83" fmla="*/ 2147483647 h 747"/>
                <a:gd name="T84" fmla="*/ 2147483647 w 1101"/>
                <a:gd name="T85" fmla="*/ 2147483647 h 747"/>
                <a:gd name="T86" fmla="*/ 2147483647 w 1101"/>
                <a:gd name="T87" fmla="*/ 2147483647 h 747"/>
                <a:gd name="T88" fmla="*/ 2147483647 w 1101"/>
                <a:gd name="T89" fmla="*/ 2147483647 h 747"/>
                <a:gd name="T90" fmla="*/ 2147483647 w 1101"/>
                <a:gd name="T91" fmla="*/ 2147483647 h 747"/>
                <a:gd name="T92" fmla="*/ 2147483647 w 1101"/>
                <a:gd name="T93" fmla="*/ 2147483647 h 747"/>
                <a:gd name="T94" fmla="*/ 2147483647 w 1101"/>
                <a:gd name="T95" fmla="*/ 2147483647 h 747"/>
                <a:gd name="T96" fmla="*/ 2147483647 w 1101"/>
                <a:gd name="T97" fmla="*/ 2147483647 h 747"/>
                <a:gd name="T98" fmla="*/ 2147483647 w 1101"/>
                <a:gd name="T99" fmla="*/ 2147483647 h 747"/>
                <a:gd name="T100" fmla="*/ 2147483647 w 1101"/>
                <a:gd name="T101" fmla="*/ 2147483647 h 747"/>
                <a:gd name="T102" fmla="*/ 2147483647 w 1101"/>
                <a:gd name="T103" fmla="*/ 2147483647 h 747"/>
                <a:gd name="T104" fmla="*/ 2147483647 w 1101"/>
                <a:gd name="T105" fmla="*/ 2147483647 h 747"/>
                <a:gd name="T106" fmla="*/ 2147483647 w 1101"/>
                <a:gd name="T107" fmla="*/ 2147483647 h 74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01"/>
                <a:gd name="T163" fmla="*/ 0 h 747"/>
                <a:gd name="T164" fmla="*/ 1101 w 1101"/>
                <a:gd name="T165" fmla="*/ 747 h 74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01" h="747">
                  <a:moveTo>
                    <a:pt x="520" y="704"/>
                  </a:moveTo>
                  <a:lnTo>
                    <a:pt x="520" y="688"/>
                  </a:lnTo>
                  <a:lnTo>
                    <a:pt x="517" y="672"/>
                  </a:lnTo>
                  <a:lnTo>
                    <a:pt x="533" y="677"/>
                  </a:lnTo>
                  <a:lnTo>
                    <a:pt x="541" y="665"/>
                  </a:lnTo>
                  <a:lnTo>
                    <a:pt x="553" y="663"/>
                  </a:lnTo>
                  <a:lnTo>
                    <a:pt x="561" y="651"/>
                  </a:lnTo>
                  <a:lnTo>
                    <a:pt x="562" y="639"/>
                  </a:lnTo>
                  <a:lnTo>
                    <a:pt x="549" y="627"/>
                  </a:lnTo>
                  <a:lnTo>
                    <a:pt x="541" y="612"/>
                  </a:lnTo>
                  <a:lnTo>
                    <a:pt x="556" y="616"/>
                  </a:lnTo>
                  <a:lnTo>
                    <a:pt x="573" y="617"/>
                  </a:lnTo>
                  <a:lnTo>
                    <a:pt x="578" y="601"/>
                  </a:lnTo>
                  <a:lnTo>
                    <a:pt x="582" y="585"/>
                  </a:lnTo>
                  <a:lnTo>
                    <a:pt x="594" y="581"/>
                  </a:lnTo>
                  <a:lnTo>
                    <a:pt x="606" y="575"/>
                  </a:lnTo>
                  <a:lnTo>
                    <a:pt x="618" y="571"/>
                  </a:lnTo>
                  <a:lnTo>
                    <a:pt x="628" y="557"/>
                  </a:lnTo>
                  <a:lnTo>
                    <a:pt x="636" y="563"/>
                  </a:lnTo>
                  <a:lnTo>
                    <a:pt x="649" y="547"/>
                  </a:lnTo>
                  <a:lnTo>
                    <a:pt x="666" y="563"/>
                  </a:lnTo>
                  <a:lnTo>
                    <a:pt x="666" y="575"/>
                  </a:lnTo>
                  <a:lnTo>
                    <a:pt x="646" y="579"/>
                  </a:lnTo>
                  <a:lnTo>
                    <a:pt x="662" y="591"/>
                  </a:lnTo>
                  <a:lnTo>
                    <a:pt x="662" y="599"/>
                  </a:lnTo>
                  <a:lnTo>
                    <a:pt x="689" y="604"/>
                  </a:lnTo>
                  <a:lnTo>
                    <a:pt x="714" y="608"/>
                  </a:lnTo>
                  <a:lnTo>
                    <a:pt x="733" y="592"/>
                  </a:lnTo>
                  <a:lnTo>
                    <a:pt x="746" y="588"/>
                  </a:lnTo>
                  <a:lnTo>
                    <a:pt x="776" y="593"/>
                  </a:lnTo>
                  <a:lnTo>
                    <a:pt x="780" y="604"/>
                  </a:lnTo>
                  <a:lnTo>
                    <a:pt x="760" y="617"/>
                  </a:lnTo>
                  <a:lnTo>
                    <a:pt x="738" y="632"/>
                  </a:lnTo>
                  <a:lnTo>
                    <a:pt x="733" y="647"/>
                  </a:lnTo>
                  <a:lnTo>
                    <a:pt x="718" y="663"/>
                  </a:lnTo>
                  <a:lnTo>
                    <a:pt x="718" y="675"/>
                  </a:lnTo>
                  <a:lnTo>
                    <a:pt x="746" y="671"/>
                  </a:lnTo>
                  <a:lnTo>
                    <a:pt x="761" y="680"/>
                  </a:lnTo>
                  <a:lnTo>
                    <a:pt x="785" y="684"/>
                  </a:lnTo>
                  <a:lnTo>
                    <a:pt x="793" y="709"/>
                  </a:lnTo>
                  <a:lnTo>
                    <a:pt x="800" y="727"/>
                  </a:lnTo>
                  <a:lnTo>
                    <a:pt x="806" y="745"/>
                  </a:lnTo>
                  <a:lnTo>
                    <a:pt x="825" y="747"/>
                  </a:lnTo>
                  <a:lnTo>
                    <a:pt x="846" y="731"/>
                  </a:lnTo>
                  <a:lnTo>
                    <a:pt x="854" y="709"/>
                  </a:lnTo>
                  <a:lnTo>
                    <a:pt x="868" y="693"/>
                  </a:lnTo>
                  <a:lnTo>
                    <a:pt x="882" y="688"/>
                  </a:lnTo>
                  <a:lnTo>
                    <a:pt x="897" y="672"/>
                  </a:lnTo>
                  <a:lnTo>
                    <a:pt x="916" y="643"/>
                  </a:lnTo>
                  <a:lnTo>
                    <a:pt x="956" y="644"/>
                  </a:lnTo>
                  <a:lnTo>
                    <a:pt x="965" y="636"/>
                  </a:lnTo>
                  <a:lnTo>
                    <a:pt x="976" y="637"/>
                  </a:lnTo>
                  <a:lnTo>
                    <a:pt x="970" y="613"/>
                  </a:lnTo>
                  <a:lnTo>
                    <a:pt x="974" y="596"/>
                  </a:lnTo>
                  <a:lnTo>
                    <a:pt x="956" y="599"/>
                  </a:lnTo>
                  <a:lnTo>
                    <a:pt x="936" y="613"/>
                  </a:lnTo>
                  <a:lnTo>
                    <a:pt x="924" y="615"/>
                  </a:lnTo>
                  <a:lnTo>
                    <a:pt x="912" y="629"/>
                  </a:lnTo>
                  <a:lnTo>
                    <a:pt x="901" y="624"/>
                  </a:lnTo>
                  <a:lnTo>
                    <a:pt x="881" y="633"/>
                  </a:lnTo>
                  <a:lnTo>
                    <a:pt x="872" y="628"/>
                  </a:lnTo>
                  <a:lnTo>
                    <a:pt x="869" y="612"/>
                  </a:lnTo>
                  <a:lnTo>
                    <a:pt x="853" y="609"/>
                  </a:lnTo>
                  <a:lnTo>
                    <a:pt x="840" y="603"/>
                  </a:lnTo>
                  <a:lnTo>
                    <a:pt x="828" y="592"/>
                  </a:lnTo>
                  <a:lnTo>
                    <a:pt x="820" y="583"/>
                  </a:lnTo>
                  <a:lnTo>
                    <a:pt x="809" y="585"/>
                  </a:lnTo>
                  <a:lnTo>
                    <a:pt x="802" y="593"/>
                  </a:lnTo>
                  <a:lnTo>
                    <a:pt x="797" y="572"/>
                  </a:lnTo>
                  <a:lnTo>
                    <a:pt x="820" y="567"/>
                  </a:lnTo>
                  <a:lnTo>
                    <a:pt x="844" y="573"/>
                  </a:lnTo>
                  <a:lnTo>
                    <a:pt x="853" y="587"/>
                  </a:lnTo>
                  <a:lnTo>
                    <a:pt x="861" y="581"/>
                  </a:lnTo>
                  <a:lnTo>
                    <a:pt x="853" y="563"/>
                  </a:lnTo>
                  <a:lnTo>
                    <a:pt x="860" y="553"/>
                  </a:lnTo>
                  <a:lnTo>
                    <a:pt x="870" y="549"/>
                  </a:lnTo>
                  <a:lnTo>
                    <a:pt x="862" y="528"/>
                  </a:lnTo>
                  <a:lnTo>
                    <a:pt x="876" y="527"/>
                  </a:lnTo>
                  <a:lnTo>
                    <a:pt x="888" y="512"/>
                  </a:lnTo>
                  <a:lnTo>
                    <a:pt x="914" y="491"/>
                  </a:lnTo>
                  <a:lnTo>
                    <a:pt x="942" y="472"/>
                  </a:lnTo>
                  <a:lnTo>
                    <a:pt x="950" y="468"/>
                  </a:lnTo>
                  <a:lnTo>
                    <a:pt x="958" y="471"/>
                  </a:lnTo>
                  <a:lnTo>
                    <a:pt x="969" y="449"/>
                  </a:lnTo>
                  <a:lnTo>
                    <a:pt x="985" y="439"/>
                  </a:lnTo>
                  <a:lnTo>
                    <a:pt x="992" y="425"/>
                  </a:lnTo>
                  <a:lnTo>
                    <a:pt x="1014" y="411"/>
                  </a:lnTo>
                  <a:lnTo>
                    <a:pt x="1032" y="405"/>
                  </a:lnTo>
                  <a:lnTo>
                    <a:pt x="1025" y="384"/>
                  </a:lnTo>
                  <a:lnTo>
                    <a:pt x="1022" y="357"/>
                  </a:lnTo>
                  <a:lnTo>
                    <a:pt x="1045" y="341"/>
                  </a:lnTo>
                  <a:lnTo>
                    <a:pt x="1048" y="320"/>
                  </a:lnTo>
                  <a:lnTo>
                    <a:pt x="1069" y="320"/>
                  </a:lnTo>
                  <a:lnTo>
                    <a:pt x="1085" y="313"/>
                  </a:lnTo>
                  <a:lnTo>
                    <a:pt x="1101" y="305"/>
                  </a:lnTo>
                  <a:lnTo>
                    <a:pt x="1101" y="261"/>
                  </a:lnTo>
                  <a:lnTo>
                    <a:pt x="1086" y="255"/>
                  </a:lnTo>
                  <a:lnTo>
                    <a:pt x="1070" y="227"/>
                  </a:lnTo>
                  <a:lnTo>
                    <a:pt x="1077" y="209"/>
                  </a:lnTo>
                  <a:lnTo>
                    <a:pt x="1080" y="201"/>
                  </a:lnTo>
                  <a:lnTo>
                    <a:pt x="1062" y="196"/>
                  </a:lnTo>
                  <a:lnTo>
                    <a:pt x="1080" y="179"/>
                  </a:lnTo>
                  <a:lnTo>
                    <a:pt x="1077" y="155"/>
                  </a:lnTo>
                  <a:lnTo>
                    <a:pt x="1065" y="133"/>
                  </a:lnTo>
                  <a:lnTo>
                    <a:pt x="1044" y="139"/>
                  </a:lnTo>
                  <a:lnTo>
                    <a:pt x="1033" y="139"/>
                  </a:lnTo>
                  <a:lnTo>
                    <a:pt x="1001" y="132"/>
                  </a:lnTo>
                  <a:lnTo>
                    <a:pt x="983" y="131"/>
                  </a:lnTo>
                  <a:lnTo>
                    <a:pt x="954" y="136"/>
                  </a:lnTo>
                  <a:lnTo>
                    <a:pt x="936" y="144"/>
                  </a:lnTo>
                  <a:lnTo>
                    <a:pt x="918" y="137"/>
                  </a:lnTo>
                  <a:lnTo>
                    <a:pt x="902" y="124"/>
                  </a:lnTo>
                  <a:lnTo>
                    <a:pt x="884" y="109"/>
                  </a:lnTo>
                  <a:lnTo>
                    <a:pt x="864" y="128"/>
                  </a:lnTo>
                  <a:lnTo>
                    <a:pt x="844" y="140"/>
                  </a:lnTo>
                  <a:lnTo>
                    <a:pt x="836" y="136"/>
                  </a:lnTo>
                  <a:lnTo>
                    <a:pt x="821" y="141"/>
                  </a:lnTo>
                  <a:lnTo>
                    <a:pt x="801" y="132"/>
                  </a:lnTo>
                  <a:lnTo>
                    <a:pt x="788" y="144"/>
                  </a:lnTo>
                  <a:lnTo>
                    <a:pt x="768" y="136"/>
                  </a:lnTo>
                  <a:lnTo>
                    <a:pt x="758" y="107"/>
                  </a:lnTo>
                  <a:lnTo>
                    <a:pt x="729" y="80"/>
                  </a:lnTo>
                  <a:lnTo>
                    <a:pt x="712" y="87"/>
                  </a:lnTo>
                  <a:lnTo>
                    <a:pt x="694" y="85"/>
                  </a:lnTo>
                  <a:lnTo>
                    <a:pt x="686" y="84"/>
                  </a:lnTo>
                  <a:lnTo>
                    <a:pt x="669" y="53"/>
                  </a:lnTo>
                  <a:lnTo>
                    <a:pt x="678" y="37"/>
                  </a:lnTo>
                  <a:lnTo>
                    <a:pt x="658" y="23"/>
                  </a:lnTo>
                  <a:lnTo>
                    <a:pt x="654" y="13"/>
                  </a:lnTo>
                  <a:lnTo>
                    <a:pt x="640" y="0"/>
                  </a:lnTo>
                  <a:lnTo>
                    <a:pt x="626" y="1"/>
                  </a:lnTo>
                  <a:lnTo>
                    <a:pt x="606" y="5"/>
                  </a:lnTo>
                  <a:lnTo>
                    <a:pt x="594" y="7"/>
                  </a:lnTo>
                  <a:lnTo>
                    <a:pt x="581" y="16"/>
                  </a:lnTo>
                  <a:lnTo>
                    <a:pt x="566" y="20"/>
                  </a:lnTo>
                  <a:lnTo>
                    <a:pt x="557" y="23"/>
                  </a:lnTo>
                  <a:lnTo>
                    <a:pt x="545" y="45"/>
                  </a:lnTo>
                  <a:lnTo>
                    <a:pt x="537" y="45"/>
                  </a:lnTo>
                  <a:lnTo>
                    <a:pt x="524" y="44"/>
                  </a:lnTo>
                  <a:lnTo>
                    <a:pt x="506" y="51"/>
                  </a:lnTo>
                  <a:lnTo>
                    <a:pt x="477" y="71"/>
                  </a:lnTo>
                  <a:lnTo>
                    <a:pt x="468" y="89"/>
                  </a:lnTo>
                  <a:lnTo>
                    <a:pt x="461" y="104"/>
                  </a:lnTo>
                  <a:lnTo>
                    <a:pt x="472" y="133"/>
                  </a:lnTo>
                  <a:lnTo>
                    <a:pt x="462" y="148"/>
                  </a:lnTo>
                  <a:lnTo>
                    <a:pt x="441" y="139"/>
                  </a:lnTo>
                  <a:lnTo>
                    <a:pt x="430" y="147"/>
                  </a:lnTo>
                  <a:lnTo>
                    <a:pt x="412" y="152"/>
                  </a:lnTo>
                  <a:lnTo>
                    <a:pt x="404" y="157"/>
                  </a:lnTo>
                  <a:lnTo>
                    <a:pt x="380" y="133"/>
                  </a:lnTo>
                  <a:lnTo>
                    <a:pt x="365" y="157"/>
                  </a:lnTo>
                  <a:lnTo>
                    <a:pt x="353" y="148"/>
                  </a:lnTo>
                  <a:lnTo>
                    <a:pt x="328" y="148"/>
                  </a:lnTo>
                  <a:lnTo>
                    <a:pt x="293" y="167"/>
                  </a:lnTo>
                  <a:lnTo>
                    <a:pt x="278" y="156"/>
                  </a:lnTo>
                  <a:lnTo>
                    <a:pt x="266" y="157"/>
                  </a:lnTo>
                  <a:lnTo>
                    <a:pt x="249" y="140"/>
                  </a:lnTo>
                  <a:lnTo>
                    <a:pt x="237" y="136"/>
                  </a:lnTo>
                  <a:lnTo>
                    <a:pt x="216" y="144"/>
                  </a:lnTo>
                  <a:lnTo>
                    <a:pt x="201" y="139"/>
                  </a:lnTo>
                  <a:lnTo>
                    <a:pt x="182" y="129"/>
                  </a:lnTo>
                  <a:lnTo>
                    <a:pt x="174" y="136"/>
                  </a:lnTo>
                  <a:lnTo>
                    <a:pt x="133" y="135"/>
                  </a:lnTo>
                  <a:lnTo>
                    <a:pt x="130" y="144"/>
                  </a:lnTo>
                  <a:lnTo>
                    <a:pt x="112" y="144"/>
                  </a:lnTo>
                  <a:lnTo>
                    <a:pt x="94" y="163"/>
                  </a:lnTo>
                  <a:lnTo>
                    <a:pt x="76" y="179"/>
                  </a:lnTo>
                  <a:lnTo>
                    <a:pt x="54" y="179"/>
                  </a:lnTo>
                  <a:lnTo>
                    <a:pt x="57" y="212"/>
                  </a:lnTo>
                  <a:lnTo>
                    <a:pt x="66" y="229"/>
                  </a:lnTo>
                  <a:lnTo>
                    <a:pt x="89" y="244"/>
                  </a:lnTo>
                  <a:lnTo>
                    <a:pt x="90" y="272"/>
                  </a:lnTo>
                  <a:lnTo>
                    <a:pt x="94" y="285"/>
                  </a:lnTo>
                  <a:lnTo>
                    <a:pt x="56" y="327"/>
                  </a:lnTo>
                  <a:lnTo>
                    <a:pt x="40" y="351"/>
                  </a:lnTo>
                  <a:lnTo>
                    <a:pt x="28" y="379"/>
                  </a:lnTo>
                  <a:lnTo>
                    <a:pt x="28" y="404"/>
                  </a:lnTo>
                  <a:lnTo>
                    <a:pt x="25" y="429"/>
                  </a:lnTo>
                  <a:lnTo>
                    <a:pt x="12" y="431"/>
                  </a:lnTo>
                  <a:lnTo>
                    <a:pt x="6" y="452"/>
                  </a:lnTo>
                  <a:lnTo>
                    <a:pt x="0" y="489"/>
                  </a:lnTo>
                  <a:lnTo>
                    <a:pt x="30" y="511"/>
                  </a:lnTo>
                  <a:lnTo>
                    <a:pt x="45" y="527"/>
                  </a:lnTo>
                  <a:lnTo>
                    <a:pt x="130" y="527"/>
                  </a:lnTo>
                  <a:lnTo>
                    <a:pt x="157" y="519"/>
                  </a:lnTo>
                  <a:lnTo>
                    <a:pt x="169" y="525"/>
                  </a:lnTo>
                  <a:lnTo>
                    <a:pt x="189" y="531"/>
                  </a:lnTo>
                  <a:lnTo>
                    <a:pt x="205" y="515"/>
                  </a:lnTo>
                  <a:lnTo>
                    <a:pt x="217" y="511"/>
                  </a:lnTo>
                  <a:lnTo>
                    <a:pt x="233" y="507"/>
                  </a:lnTo>
                  <a:lnTo>
                    <a:pt x="280" y="467"/>
                  </a:lnTo>
                  <a:lnTo>
                    <a:pt x="290" y="455"/>
                  </a:lnTo>
                  <a:lnTo>
                    <a:pt x="309" y="453"/>
                  </a:lnTo>
                  <a:lnTo>
                    <a:pt x="329" y="441"/>
                  </a:lnTo>
                  <a:lnTo>
                    <a:pt x="370" y="465"/>
                  </a:lnTo>
                  <a:lnTo>
                    <a:pt x="422" y="460"/>
                  </a:lnTo>
                  <a:lnTo>
                    <a:pt x="446" y="475"/>
                  </a:lnTo>
                  <a:lnTo>
                    <a:pt x="453" y="481"/>
                  </a:lnTo>
                  <a:lnTo>
                    <a:pt x="458" y="505"/>
                  </a:lnTo>
                  <a:lnTo>
                    <a:pt x="482" y="541"/>
                  </a:lnTo>
                  <a:lnTo>
                    <a:pt x="492" y="559"/>
                  </a:lnTo>
                  <a:lnTo>
                    <a:pt x="510" y="559"/>
                  </a:lnTo>
                  <a:lnTo>
                    <a:pt x="518" y="573"/>
                  </a:lnTo>
                  <a:lnTo>
                    <a:pt x="525" y="587"/>
                  </a:lnTo>
                  <a:lnTo>
                    <a:pt x="522" y="615"/>
                  </a:lnTo>
                  <a:lnTo>
                    <a:pt x="508" y="615"/>
                  </a:lnTo>
                  <a:lnTo>
                    <a:pt x="477" y="621"/>
                  </a:lnTo>
                  <a:lnTo>
                    <a:pt x="467" y="611"/>
                  </a:lnTo>
                  <a:lnTo>
                    <a:pt x="465" y="637"/>
                  </a:lnTo>
                  <a:lnTo>
                    <a:pt x="466" y="652"/>
                  </a:lnTo>
                  <a:lnTo>
                    <a:pt x="456" y="679"/>
                  </a:lnTo>
                  <a:lnTo>
                    <a:pt x="440" y="687"/>
                  </a:lnTo>
                  <a:lnTo>
                    <a:pt x="441" y="721"/>
                  </a:lnTo>
                  <a:lnTo>
                    <a:pt x="468" y="729"/>
                  </a:lnTo>
                  <a:lnTo>
                    <a:pt x="492" y="720"/>
                  </a:lnTo>
                  <a:lnTo>
                    <a:pt x="520" y="70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5" name="Freeform 11"/>
            <p:cNvSpPr>
              <a:spLocks/>
            </p:cNvSpPr>
            <p:nvPr/>
          </p:nvSpPr>
          <p:spPr bwMode="auto">
            <a:xfrm>
              <a:off x="4357994" y="1407443"/>
              <a:ext cx="1640695" cy="1184465"/>
            </a:xfrm>
            <a:custGeom>
              <a:avLst/>
              <a:gdLst>
                <a:gd name="T0" fmla="*/ 2147483647 w 524"/>
                <a:gd name="T1" fmla="*/ 2147483647 h 464"/>
                <a:gd name="T2" fmla="*/ 2147483647 w 524"/>
                <a:gd name="T3" fmla="*/ 2147483647 h 464"/>
                <a:gd name="T4" fmla="*/ 2147483647 w 524"/>
                <a:gd name="T5" fmla="*/ 2147483647 h 464"/>
                <a:gd name="T6" fmla="*/ 2147483647 w 524"/>
                <a:gd name="T7" fmla="*/ 2147483647 h 464"/>
                <a:gd name="T8" fmla="*/ 2147483647 w 524"/>
                <a:gd name="T9" fmla="*/ 2147483647 h 464"/>
                <a:gd name="T10" fmla="*/ 2147483647 w 524"/>
                <a:gd name="T11" fmla="*/ 2147483647 h 464"/>
                <a:gd name="T12" fmla="*/ 2147483647 w 524"/>
                <a:gd name="T13" fmla="*/ 2147483647 h 464"/>
                <a:gd name="T14" fmla="*/ 2147483647 w 524"/>
                <a:gd name="T15" fmla="*/ 2147483647 h 464"/>
                <a:gd name="T16" fmla="*/ 2147483647 w 524"/>
                <a:gd name="T17" fmla="*/ 2147483647 h 464"/>
                <a:gd name="T18" fmla="*/ 2147483647 w 524"/>
                <a:gd name="T19" fmla="*/ 2147483647 h 464"/>
                <a:gd name="T20" fmla="*/ 2147483647 w 524"/>
                <a:gd name="T21" fmla="*/ 2147483647 h 464"/>
                <a:gd name="T22" fmla="*/ 2147483647 w 524"/>
                <a:gd name="T23" fmla="*/ 2147483647 h 464"/>
                <a:gd name="T24" fmla="*/ 2147483647 w 524"/>
                <a:gd name="T25" fmla="*/ 2147483647 h 464"/>
                <a:gd name="T26" fmla="*/ 2147483647 w 524"/>
                <a:gd name="T27" fmla="*/ 2147483647 h 464"/>
                <a:gd name="T28" fmla="*/ 2147483647 w 524"/>
                <a:gd name="T29" fmla="*/ 2147483647 h 464"/>
                <a:gd name="T30" fmla="*/ 2147483647 w 524"/>
                <a:gd name="T31" fmla="*/ 2147483647 h 464"/>
                <a:gd name="T32" fmla="*/ 2147483647 w 524"/>
                <a:gd name="T33" fmla="*/ 2147483647 h 464"/>
                <a:gd name="T34" fmla="*/ 2147483647 w 524"/>
                <a:gd name="T35" fmla="*/ 2147483647 h 464"/>
                <a:gd name="T36" fmla="*/ 2147483647 w 524"/>
                <a:gd name="T37" fmla="*/ 2147483647 h 464"/>
                <a:gd name="T38" fmla="*/ 2147483647 w 524"/>
                <a:gd name="T39" fmla="*/ 2147483647 h 464"/>
                <a:gd name="T40" fmla="*/ 2147483647 w 524"/>
                <a:gd name="T41" fmla="*/ 2147483647 h 464"/>
                <a:gd name="T42" fmla="*/ 2147483647 w 524"/>
                <a:gd name="T43" fmla="*/ 2147483647 h 464"/>
                <a:gd name="T44" fmla="*/ 2147483647 w 524"/>
                <a:gd name="T45" fmla="*/ 2147483647 h 464"/>
                <a:gd name="T46" fmla="*/ 2147483647 w 524"/>
                <a:gd name="T47" fmla="*/ 2147483647 h 464"/>
                <a:gd name="T48" fmla="*/ 2147483647 w 524"/>
                <a:gd name="T49" fmla="*/ 2147483647 h 464"/>
                <a:gd name="T50" fmla="*/ 2147483647 w 524"/>
                <a:gd name="T51" fmla="*/ 2147483647 h 464"/>
                <a:gd name="T52" fmla="*/ 2147483647 w 524"/>
                <a:gd name="T53" fmla="*/ 2147483647 h 464"/>
                <a:gd name="T54" fmla="*/ 2147483647 w 524"/>
                <a:gd name="T55" fmla="*/ 2147483647 h 464"/>
                <a:gd name="T56" fmla="*/ 2147483647 w 524"/>
                <a:gd name="T57" fmla="*/ 2147483647 h 464"/>
                <a:gd name="T58" fmla="*/ 2147483647 w 524"/>
                <a:gd name="T59" fmla="*/ 2147483647 h 464"/>
                <a:gd name="T60" fmla="*/ 2147483647 w 524"/>
                <a:gd name="T61" fmla="*/ 2147483647 h 464"/>
                <a:gd name="T62" fmla="*/ 2147483647 w 524"/>
                <a:gd name="T63" fmla="*/ 2147483647 h 464"/>
                <a:gd name="T64" fmla="*/ 2147483647 w 524"/>
                <a:gd name="T65" fmla="*/ 2147483647 h 464"/>
                <a:gd name="T66" fmla="*/ 2147483647 w 524"/>
                <a:gd name="T67" fmla="*/ 2147483647 h 464"/>
                <a:gd name="T68" fmla="*/ 2147483647 w 524"/>
                <a:gd name="T69" fmla="*/ 2147483647 h 464"/>
                <a:gd name="T70" fmla="*/ 2147483647 w 524"/>
                <a:gd name="T71" fmla="*/ 2147483647 h 464"/>
                <a:gd name="T72" fmla="*/ 2147483647 w 524"/>
                <a:gd name="T73" fmla="*/ 2147483647 h 464"/>
                <a:gd name="T74" fmla="*/ 2147483647 w 524"/>
                <a:gd name="T75" fmla="*/ 2147483647 h 464"/>
                <a:gd name="T76" fmla="*/ 2147483647 w 524"/>
                <a:gd name="T77" fmla="*/ 2147483647 h 464"/>
                <a:gd name="T78" fmla="*/ 2147483647 w 524"/>
                <a:gd name="T79" fmla="*/ 2147483647 h 464"/>
                <a:gd name="T80" fmla="*/ 2147483647 w 524"/>
                <a:gd name="T81" fmla="*/ 2147483647 h 464"/>
                <a:gd name="T82" fmla="*/ 2147483647 w 524"/>
                <a:gd name="T83" fmla="*/ 2147483647 h 464"/>
                <a:gd name="T84" fmla="*/ 2147483647 w 524"/>
                <a:gd name="T85" fmla="*/ 2147483647 h 464"/>
                <a:gd name="T86" fmla="*/ 2147483647 w 524"/>
                <a:gd name="T87" fmla="*/ 2147483647 h 464"/>
                <a:gd name="T88" fmla="*/ 2147483647 w 524"/>
                <a:gd name="T89" fmla="*/ 2147483647 h 464"/>
                <a:gd name="T90" fmla="*/ 2147483647 w 524"/>
                <a:gd name="T91" fmla="*/ 2147483647 h 464"/>
                <a:gd name="T92" fmla="*/ 2147483647 w 524"/>
                <a:gd name="T93" fmla="*/ 2147483647 h 464"/>
                <a:gd name="T94" fmla="*/ 2147483647 w 524"/>
                <a:gd name="T95" fmla="*/ 2147483647 h 464"/>
                <a:gd name="T96" fmla="*/ 2147483647 w 524"/>
                <a:gd name="T97" fmla="*/ 2147483647 h 464"/>
                <a:gd name="T98" fmla="*/ 2147483647 w 524"/>
                <a:gd name="T99" fmla="*/ 2147483647 h 464"/>
                <a:gd name="T100" fmla="*/ 2147483647 w 524"/>
                <a:gd name="T101" fmla="*/ 2147483647 h 464"/>
                <a:gd name="T102" fmla="*/ 2147483647 w 524"/>
                <a:gd name="T103" fmla="*/ 2147483647 h 464"/>
                <a:gd name="T104" fmla="*/ 2147483647 w 524"/>
                <a:gd name="T105" fmla="*/ 2147483647 h 464"/>
                <a:gd name="T106" fmla="*/ 2147483647 w 524"/>
                <a:gd name="T107" fmla="*/ 2147483647 h 464"/>
                <a:gd name="T108" fmla="*/ 2147483647 w 524"/>
                <a:gd name="T109" fmla="*/ 2147483647 h 464"/>
                <a:gd name="T110" fmla="*/ 0 w 524"/>
                <a:gd name="T111" fmla="*/ 2147483647 h 464"/>
                <a:gd name="T112" fmla="*/ 2147483647 w 524"/>
                <a:gd name="T113" fmla="*/ 2147483647 h 464"/>
                <a:gd name="T114" fmla="*/ 2147483647 w 524"/>
                <a:gd name="T115" fmla="*/ 2147483647 h 464"/>
                <a:gd name="T116" fmla="*/ 2147483647 w 524"/>
                <a:gd name="T117" fmla="*/ 2147483647 h 464"/>
                <a:gd name="T118" fmla="*/ 2147483647 w 524"/>
                <a:gd name="T119" fmla="*/ 2147483647 h 464"/>
                <a:gd name="T120" fmla="*/ 2147483647 w 524"/>
                <a:gd name="T121" fmla="*/ 2147483647 h 46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4"/>
                <a:gd name="T184" fmla="*/ 0 h 464"/>
                <a:gd name="T185" fmla="*/ 524 w 524"/>
                <a:gd name="T186" fmla="*/ 464 h 46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4" h="464">
                  <a:moveTo>
                    <a:pt x="26" y="463"/>
                  </a:moveTo>
                  <a:lnTo>
                    <a:pt x="51" y="464"/>
                  </a:lnTo>
                  <a:lnTo>
                    <a:pt x="57" y="457"/>
                  </a:lnTo>
                  <a:lnTo>
                    <a:pt x="69" y="450"/>
                  </a:lnTo>
                  <a:lnTo>
                    <a:pt x="74" y="443"/>
                  </a:lnTo>
                  <a:lnTo>
                    <a:pt x="85" y="431"/>
                  </a:lnTo>
                  <a:lnTo>
                    <a:pt x="106" y="427"/>
                  </a:lnTo>
                  <a:lnTo>
                    <a:pt x="110" y="421"/>
                  </a:lnTo>
                  <a:lnTo>
                    <a:pt x="152" y="421"/>
                  </a:lnTo>
                  <a:lnTo>
                    <a:pt x="158" y="415"/>
                  </a:lnTo>
                  <a:lnTo>
                    <a:pt x="175" y="424"/>
                  </a:lnTo>
                  <a:lnTo>
                    <a:pt x="190" y="431"/>
                  </a:lnTo>
                  <a:lnTo>
                    <a:pt x="203" y="427"/>
                  </a:lnTo>
                  <a:lnTo>
                    <a:pt x="211" y="420"/>
                  </a:lnTo>
                  <a:lnTo>
                    <a:pt x="218" y="424"/>
                  </a:lnTo>
                  <a:lnTo>
                    <a:pt x="230" y="430"/>
                  </a:lnTo>
                  <a:lnTo>
                    <a:pt x="244" y="443"/>
                  </a:lnTo>
                  <a:lnTo>
                    <a:pt x="258" y="444"/>
                  </a:lnTo>
                  <a:lnTo>
                    <a:pt x="269" y="453"/>
                  </a:lnTo>
                  <a:lnTo>
                    <a:pt x="293" y="439"/>
                  </a:lnTo>
                  <a:lnTo>
                    <a:pt x="305" y="432"/>
                  </a:lnTo>
                  <a:lnTo>
                    <a:pt x="328" y="432"/>
                  </a:lnTo>
                  <a:lnTo>
                    <a:pt x="341" y="442"/>
                  </a:lnTo>
                  <a:lnTo>
                    <a:pt x="347" y="429"/>
                  </a:lnTo>
                  <a:lnTo>
                    <a:pt x="354" y="417"/>
                  </a:lnTo>
                  <a:lnTo>
                    <a:pt x="365" y="423"/>
                  </a:lnTo>
                  <a:lnTo>
                    <a:pt x="378" y="439"/>
                  </a:lnTo>
                  <a:lnTo>
                    <a:pt x="386" y="438"/>
                  </a:lnTo>
                  <a:lnTo>
                    <a:pt x="396" y="434"/>
                  </a:lnTo>
                  <a:lnTo>
                    <a:pt x="405" y="433"/>
                  </a:lnTo>
                  <a:lnTo>
                    <a:pt x="423" y="427"/>
                  </a:lnTo>
                  <a:lnTo>
                    <a:pt x="436" y="434"/>
                  </a:lnTo>
                  <a:lnTo>
                    <a:pt x="449" y="417"/>
                  </a:lnTo>
                  <a:lnTo>
                    <a:pt x="446" y="403"/>
                  </a:lnTo>
                  <a:lnTo>
                    <a:pt x="438" y="387"/>
                  </a:lnTo>
                  <a:lnTo>
                    <a:pt x="442" y="370"/>
                  </a:lnTo>
                  <a:lnTo>
                    <a:pt x="454" y="352"/>
                  </a:lnTo>
                  <a:lnTo>
                    <a:pt x="475" y="340"/>
                  </a:lnTo>
                  <a:lnTo>
                    <a:pt x="488" y="334"/>
                  </a:lnTo>
                  <a:lnTo>
                    <a:pt x="504" y="336"/>
                  </a:lnTo>
                  <a:lnTo>
                    <a:pt x="496" y="318"/>
                  </a:lnTo>
                  <a:lnTo>
                    <a:pt x="488" y="305"/>
                  </a:lnTo>
                  <a:lnTo>
                    <a:pt x="483" y="290"/>
                  </a:lnTo>
                  <a:lnTo>
                    <a:pt x="468" y="271"/>
                  </a:lnTo>
                  <a:lnTo>
                    <a:pt x="460" y="256"/>
                  </a:lnTo>
                  <a:lnTo>
                    <a:pt x="447" y="237"/>
                  </a:lnTo>
                  <a:lnTo>
                    <a:pt x="460" y="226"/>
                  </a:lnTo>
                  <a:lnTo>
                    <a:pt x="483" y="227"/>
                  </a:lnTo>
                  <a:lnTo>
                    <a:pt x="497" y="230"/>
                  </a:lnTo>
                  <a:lnTo>
                    <a:pt x="513" y="218"/>
                  </a:lnTo>
                  <a:lnTo>
                    <a:pt x="521" y="203"/>
                  </a:lnTo>
                  <a:lnTo>
                    <a:pt x="524" y="194"/>
                  </a:lnTo>
                  <a:lnTo>
                    <a:pt x="519" y="181"/>
                  </a:lnTo>
                  <a:lnTo>
                    <a:pt x="504" y="180"/>
                  </a:lnTo>
                  <a:lnTo>
                    <a:pt x="499" y="173"/>
                  </a:lnTo>
                  <a:lnTo>
                    <a:pt x="484" y="167"/>
                  </a:lnTo>
                  <a:lnTo>
                    <a:pt x="469" y="170"/>
                  </a:lnTo>
                  <a:lnTo>
                    <a:pt x="459" y="169"/>
                  </a:lnTo>
                  <a:lnTo>
                    <a:pt x="456" y="152"/>
                  </a:lnTo>
                  <a:lnTo>
                    <a:pt x="438" y="143"/>
                  </a:lnTo>
                  <a:lnTo>
                    <a:pt x="421" y="136"/>
                  </a:lnTo>
                  <a:lnTo>
                    <a:pt x="397" y="95"/>
                  </a:lnTo>
                  <a:lnTo>
                    <a:pt x="385" y="90"/>
                  </a:lnTo>
                  <a:lnTo>
                    <a:pt x="388" y="75"/>
                  </a:lnTo>
                  <a:lnTo>
                    <a:pt x="395" y="60"/>
                  </a:lnTo>
                  <a:lnTo>
                    <a:pt x="386" y="48"/>
                  </a:lnTo>
                  <a:lnTo>
                    <a:pt x="379" y="39"/>
                  </a:lnTo>
                  <a:lnTo>
                    <a:pt x="375" y="19"/>
                  </a:lnTo>
                  <a:lnTo>
                    <a:pt x="354" y="13"/>
                  </a:lnTo>
                  <a:lnTo>
                    <a:pt x="341" y="7"/>
                  </a:lnTo>
                  <a:lnTo>
                    <a:pt x="321" y="3"/>
                  </a:lnTo>
                  <a:lnTo>
                    <a:pt x="308" y="15"/>
                  </a:lnTo>
                  <a:lnTo>
                    <a:pt x="298" y="23"/>
                  </a:lnTo>
                  <a:lnTo>
                    <a:pt x="291" y="12"/>
                  </a:lnTo>
                  <a:lnTo>
                    <a:pt x="277" y="0"/>
                  </a:lnTo>
                  <a:lnTo>
                    <a:pt x="266" y="1"/>
                  </a:lnTo>
                  <a:lnTo>
                    <a:pt x="258" y="6"/>
                  </a:lnTo>
                  <a:lnTo>
                    <a:pt x="233" y="2"/>
                  </a:lnTo>
                  <a:lnTo>
                    <a:pt x="224" y="2"/>
                  </a:lnTo>
                  <a:lnTo>
                    <a:pt x="209" y="3"/>
                  </a:lnTo>
                  <a:lnTo>
                    <a:pt x="202" y="10"/>
                  </a:lnTo>
                  <a:lnTo>
                    <a:pt x="199" y="35"/>
                  </a:lnTo>
                  <a:lnTo>
                    <a:pt x="194" y="43"/>
                  </a:lnTo>
                  <a:lnTo>
                    <a:pt x="169" y="43"/>
                  </a:lnTo>
                  <a:lnTo>
                    <a:pt x="162" y="51"/>
                  </a:lnTo>
                  <a:lnTo>
                    <a:pt x="155" y="61"/>
                  </a:lnTo>
                  <a:lnTo>
                    <a:pt x="143" y="67"/>
                  </a:lnTo>
                  <a:lnTo>
                    <a:pt x="138" y="77"/>
                  </a:lnTo>
                  <a:lnTo>
                    <a:pt x="142" y="92"/>
                  </a:lnTo>
                  <a:lnTo>
                    <a:pt x="164" y="96"/>
                  </a:lnTo>
                  <a:lnTo>
                    <a:pt x="157" y="108"/>
                  </a:lnTo>
                  <a:lnTo>
                    <a:pt x="146" y="111"/>
                  </a:lnTo>
                  <a:lnTo>
                    <a:pt x="138" y="113"/>
                  </a:lnTo>
                  <a:lnTo>
                    <a:pt x="122" y="128"/>
                  </a:lnTo>
                  <a:lnTo>
                    <a:pt x="119" y="159"/>
                  </a:lnTo>
                  <a:lnTo>
                    <a:pt x="113" y="172"/>
                  </a:lnTo>
                  <a:lnTo>
                    <a:pt x="111" y="187"/>
                  </a:lnTo>
                  <a:lnTo>
                    <a:pt x="118" y="199"/>
                  </a:lnTo>
                  <a:lnTo>
                    <a:pt x="123" y="209"/>
                  </a:lnTo>
                  <a:lnTo>
                    <a:pt x="115" y="211"/>
                  </a:lnTo>
                  <a:lnTo>
                    <a:pt x="106" y="202"/>
                  </a:lnTo>
                  <a:lnTo>
                    <a:pt x="94" y="201"/>
                  </a:lnTo>
                  <a:lnTo>
                    <a:pt x="84" y="210"/>
                  </a:lnTo>
                  <a:lnTo>
                    <a:pt x="70" y="217"/>
                  </a:lnTo>
                  <a:lnTo>
                    <a:pt x="70" y="226"/>
                  </a:lnTo>
                  <a:lnTo>
                    <a:pt x="67" y="236"/>
                  </a:lnTo>
                  <a:lnTo>
                    <a:pt x="58" y="234"/>
                  </a:lnTo>
                  <a:lnTo>
                    <a:pt x="51" y="241"/>
                  </a:lnTo>
                  <a:lnTo>
                    <a:pt x="39" y="240"/>
                  </a:lnTo>
                  <a:lnTo>
                    <a:pt x="23" y="240"/>
                  </a:lnTo>
                  <a:lnTo>
                    <a:pt x="7" y="246"/>
                  </a:lnTo>
                  <a:lnTo>
                    <a:pt x="0" y="245"/>
                  </a:lnTo>
                  <a:lnTo>
                    <a:pt x="9" y="272"/>
                  </a:lnTo>
                  <a:lnTo>
                    <a:pt x="17" y="306"/>
                  </a:lnTo>
                  <a:lnTo>
                    <a:pt x="29" y="318"/>
                  </a:lnTo>
                  <a:lnTo>
                    <a:pt x="32" y="351"/>
                  </a:lnTo>
                  <a:lnTo>
                    <a:pt x="27" y="374"/>
                  </a:lnTo>
                  <a:lnTo>
                    <a:pt x="12" y="397"/>
                  </a:lnTo>
                  <a:lnTo>
                    <a:pt x="5" y="408"/>
                  </a:lnTo>
                  <a:lnTo>
                    <a:pt x="10" y="418"/>
                  </a:lnTo>
                  <a:lnTo>
                    <a:pt x="20" y="429"/>
                  </a:lnTo>
                  <a:lnTo>
                    <a:pt x="26" y="444"/>
                  </a:lnTo>
                  <a:lnTo>
                    <a:pt x="26" y="46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9" name="Freeform 12"/>
            <p:cNvSpPr>
              <a:spLocks/>
            </p:cNvSpPr>
            <p:nvPr/>
          </p:nvSpPr>
          <p:spPr bwMode="auto">
            <a:xfrm>
              <a:off x="5158681" y="3264970"/>
              <a:ext cx="775667" cy="712657"/>
            </a:xfrm>
            <a:custGeom>
              <a:avLst/>
              <a:gdLst>
                <a:gd name="T0" fmla="*/ 0 w 247"/>
                <a:gd name="T1" fmla="*/ 2147483647 h 280"/>
                <a:gd name="T2" fmla="*/ 2147483647 w 247"/>
                <a:gd name="T3" fmla="*/ 2147483647 h 280"/>
                <a:gd name="T4" fmla="*/ 2147483647 w 247"/>
                <a:gd name="T5" fmla="*/ 2147483647 h 280"/>
                <a:gd name="T6" fmla="*/ 2147483647 w 247"/>
                <a:gd name="T7" fmla="*/ 2147483647 h 280"/>
                <a:gd name="T8" fmla="*/ 2147483647 w 247"/>
                <a:gd name="T9" fmla="*/ 2147483647 h 280"/>
                <a:gd name="T10" fmla="*/ 2147483647 w 247"/>
                <a:gd name="T11" fmla="*/ 2147483647 h 280"/>
                <a:gd name="T12" fmla="*/ 2147483647 w 247"/>
                <a:gd name="T13" fmla="*/ 2147483647 h 280"/>
                <a:gd name="T14" fmla="*/ 2147483647 w 247"/>
                <a:gd name="T15" fmla="*/ 2147483647 h 280"/>
                <a:gd name="T16" fmla="*/ 2147483647 w 247"/>
                <a:gd name="T17" fmla="*/ 2147483647 h 280"/>
                <a:gd name="T18" fmla="*/ 2147483647 w 247"/>
                <a:gd name="T19" fmla="*/ 2147483647 h 280"/>
                <a:gd name="T20" fmla="*/ 2147483647 w 247"/>
                <a:gd name="T21" fmla="*/ 2147483647 h 280"/>
                <a:gd name="T22" fmla="*/ 2147483647 w 247"/>
                <a:gd name="T23" fmla="*/ 2147483647 h 280"/>
                <a:gd name="T24" fmla="*/ 2147483647 w 247"/>
                <a:gd name="T25" fmla="*/ 2147483647 h 280"/>
                <a:gd name="T26" fmla="*/ 2147483647 w 247"/>
                <a:gd name="T27" fmla="*/ 2147483647 h 280"/>
                <a:gd name="T28" fmla="*/ 2147483647 w 247"/>
                <a:gd name="T29" fmla="*/ 2147483647 h 280"/>
                <a:gd name="T30" fmla="*/ 2147483647 w 247"/>
                <a:gd name="T31" fmla="*/ 2147483647 h 280"/>
                <a:gd name="T32" fmla="*/ 2147483647 w 247"/>
                <a:gd name="T33" fmla="*/ 2147483647 h 280"/>
                <a:gd name="T34" fmla="*/ 2147483647 w 247"/>
                <a:gd name="T35" fmla="*/ 2147483647 h 280"/>
                <a:gd name="T36" fmla="*/ 2147483647 w 247"/>
                <a:gd name="T37" fmla="*/ 2147483647 h 280"/>
                <a:gd name="T38" fmla="*/ 2147483647 w 247"/>
                <a:gd name="T39" fmla="*/ 2147483647 h 280"/>
                <a:gd name="T40" fmla="*/ 2147483647 w 247"/>
                <a:gd name="T41" fmla="*/ 2147483647 h 280"/>
                <a:gd name="T42" fmla="*/ 2147483647 w 247"/>
                <a:gd name="T43" fmla="*/ 2147483647 h 280"/>
                <a:gd name="T44" fmla="*/ 2147483647 w 247"/>
                <a:gd name="T45" fmla="*/ 2147483647 h 280"/>
                <a:gd name="T46" fmla="*/ 2147483647 w 247"/>
                <a:gd name="T47" fmla="*/ 2147483647 h 280"/>
                <a:gd name="T48" fmla="*/ 2147483647 w 247"/>
                <a:gd name="T49" fmla="*/ 2147483647 h 280"/>
                <a:gd name="T50" fmla="*/ 2147483647 w 247"/>
                <a:gd name="T51" fmla="*/ 2147483647 h 280"/>
                <a:gd name="T52" fmla="*/ 2147483647 w 247"/>
                <a:gd name="T53" fmla="*/ 2147483647 h 280"/>
                <a:gd name="T54" fmla="*/ 2147483647 w 247"/>
                <a:gd name="T55" fmla="*/ 2147483647 h 280"/>
                <a:gd name="T56" fmla="*/ 2147483647 w 247"/>
                <a:gd name="T57" fmla="*/ 2147483647 h 280"/>
                <a:gd name="T58" fmla="*/ 2147483647 w 247"/>
                <a:gd name="T59" fmla="*/ 2147483647 h 280"/>
                <a:gd name="T60" fmla="*/ 2147483647 w 247"/>
                <a:gd name="T61" fmla="*/ 2147483647 h 280"/>
                <a:gd name="T62" fmla="*/ 2147483647 w 247"/>
                <a:gd name="T63" fmla="*/ 2147483647 h 280"/>
                <a:gd name="T64" fmla="*/ 2147483647 w 247"/>
                <a:gd name="T65" fmla="*/ 2147483647 h 280"/>
                <a:gd name="T66" fmla="*/ 2147483647 w 247"/>
                <a:gd name="T67" fmla="*/ 2147483647 h 280"/>
                <a:gd name="T68" fmla="*/ 2147483647 w 247"/>
                <a:gd name="T69" fmla="*/ 2147483647 h 280"/>
                <a:gd name="T70" fmla="*/ 2147483647 w 247"/>
                <a:gd name="T71" fmla="*/ 2147483647 h 280"/>
                <a:gd name="T72" fmla="*/ 2147483647 w 247"/>
                <a:gd name="T73" fmla="*/ 0 h 280"/>
                <a:gd name="T74" fmla="*/ 2147483647 w 247"/>
                <a:gd name="T75" fmla="*/ 2147483647 h 280"/>
                <a:gd name="T76" fmla="*/ 2147483647 w 247"/>
                <a:gd name="T77" fmla="*/ 2147483647 h 280"/>
                <a:gd name="T78" fmla="*/ 2147483647 w 247"/>
                <a:gd name="T79" fmla="*/ 2147483647 h 280"/>
                <a:gd name="T80" fmla="*/ 0 w 247"/>
                <a:gd name="T81" fmla="*/ 2147483647 h 28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47"/>
                <a:gd name="T124" fmla="*/ 0 h 280"/>
                <a:gd name="T125" fmla="*/ 247 w 247"/>
                <a:gd name="T126" fmla="*/ 280 h 28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47" h="280">
                  <a:moveTo>
                    <a:pt x="0" y="27"/>
                  </a:moveTo>
                  <a:lnTo>
                    <a:pt x="41" y="50"/>
                  </a:lnTo>
                  <a:lnTo>
                    <a:pt x="56" y="65"/>
                  </a:lnTo>
                  <a:lnTo>
                    <a:pt x="63" y="86"/>
                  </a:lnTo>
                  <a:lnTo>
                    <a:pt x="90" y="122"/>
                  </a:lnTo>
                  <a:lnTo>
                    <a:pt x="117" y="148"/>
                  </a:lnTo>
                  <a:lnTo>
                    <a:pt x="127" y="167"/>
                  </a:lnTo>
                  <a:lnTo>
                    <a:pt x="140" y="215"/>
                  </a:lnTo>
                  <a:lnTo>
                    <a:pt x="145" y="272"/>
                  </a:lnTo>
                  <a:lnTo>
                    <a:pt x="163" y="280"/>
                  </a:lnTo>
                  <a:lnTo>
                    <a:pt x="162" y="253"/>
                  </a:lnTo>
                  <a:lnTo>
                    <a:pt x="163" y="242"/>
                  </a:lnTo>
                  <a:lnTo>
                    <a:pt x="177" y="233"/>
                  </a:lnTo>
                  <a:lnTo>
                    <a:pt x="182" y="217"/>
                  </a:lnTo>
                  <a:lnTo>
                    <a:pt x="187" y="209"/>
                  </a:lnTo>
                  <a:lnTo>
                    <a:pt x="185" y="170"/>
                  </a:lnTo>
                  <a:lnTo>
                    <a:pt x="199" y="178"/>
                  </a:lnTo>
                  <a:lnTo>
                    <a:pt x="207" y="174"/>
                  </a:lnTo>
                  <a:lnTo>
                    <a:pt x="226" y="170"/>
                  </a:lnTo>
                  <a:lnTo>
                    <a:pt x="240" y="171"/>
                  </a:lnTo>
                  <a:lnTo>
                    <a:pt x="246" y="162"/>
                  </a:lnTo>
                  <a:lnTo>
                    <a:pt x="247" y="150"/>
                  </a:lnTo>
                  <a:lnTo>
                    <a:pt x="239" y="142"/>
                  </a:lnTo>
                  <a:lnTo>
                    <a:pt x="237" y="126"/>
                  </a:lnTo>
                  <a:lnTo>
                    <a:pt x="224" y="114"/>
                  </a:lnTo>
                  <a:lnTo>
                    <a:pt x="211" y="116"/>
                  </a:lnTo>
                  <a:lnTo>
                    <a:pt x="191" y="81"/>
                  </a:lnTo>
                  <a:lnTo>
                    <a:pt x="177" y="61"/>
                  </a:lnTo>
                  <a:lnTo>
                    <a:pt x="170" y="31"/>
                  </a:lnTo>
                  <a:lnTo>
                    <a:pt x="158" y="30"/>
                  </a:lnTo>
                  <a:lnTo>
                    <a:pt x="149" y="22"/>
                  </a:lnTo>
                  <a:lnTo>
                    <a:pt x="138" y="15"/>
                  </a:lnTo>
                  <a:lnTo>
                    <a:pt x="124" y="17"/>
                  </a:lnTo>
                  <a:lnTo>
                    <a:pt x="104" y="23"/>
                  </a:lnTo>
                  <a:lnTo>
                    <a:pt x="82" y="19"/>
                  </a:lnTo>
                  <a:lnTo>
                    <a:pt x="61" y="4"/>
                  </a:lnTo>
                  <a:lnTo>
                    <a:pt x="45" y="0"/>
                  </a:lnTo>
                  <a:lnTo>
                    <a:pt x="27" y="10"/>
                  </a:lnTo>
                  <a:lnTo>
                    <a:pt x="14" y="12"/>
                  </a:lnTo>
                  <a:lnTo>
                    <a:pt x="4" y="1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0" name="Freeform 13"/>
            <p:cNvSpPr>
              <a:spLocks/>
            </p:cNvSpPr>
            <p:nvPr/>
          </p:nvSpPr>
          <p:spPr bwMode="auto">
            <a:xfrm>
              <a:off x="3954077" y="3337556"/>
              <a:ext cx="1994569" cy="1151468"/>
            </a:xfrm>
            <a:custGeom>
              <a:avLst/>
              <a:gdLst>
                <a:gd name="T0" fmla="*/ 2147483647 w 634"/>
                <a:gd name="T1" fmla="*/ 2147483647 h 452"/>
                <a:gd name="T2" fmla="*/ 2147483647 w 634"/>
                <a:gd name="T3" fmla="*/ 2147483647 h 452"/>
                <a:gd name="T4" fmla="*/ 2147483647 w 634"/>
                <a:gd name="T5" fmla="*/ 2147483647 h 452"/>
                <a:gd name="T6" fmla="*/ 2147483647 w 634"/>
                <a:gd name="T7" fmla="*/ 2147483647 h 452"/>
                <a:gd name="T8" fmla="*/ 2147483647 w 634"/>
                <a:gd name="T9" fmla="*/ 2147483647 h 452"/>
                <a:gd name="T10" fmla="*/ 2147483647 w 634"/>
                <a:gd name="T11" fmla="*/ 2147483647 h 452"/>
                <a:gd name="T12" fmla="*/ 2147483647 w 634"/>
                <a:gd name="T13" fmla="*/ 2147483647 h 452"/>
                <a:gd name="T14" fmla="*/ 2147483647 w 634"/>
                <a:gd name="T15" fmla="*/ 2147483647 h 452"/>
                <a:gd name="T16" fmla="*/ 2147483647 w 634"/>
                <a:gd name="T17" fmla="*/ 2147483647 h 452"/>
                <a:gd name="T18" fmla="*/ 2147483647 w 634"/>
                <a:gd name="T19" fmla="*/ 2147483647 h 452"/>
                <a:gd name="T20" fmla="*/ 2147483647 w 634"/>
                <a:gd name="T21" fmla="*/ 2147483647 h 452"/>
                <a:gd name="T22" fmla="*/ 2147483647 w 634"/>
                <a:gd name="T23" fmla="*/ 2147483647 h 452"/>
                <a:gd name="T24" fmla="*/ 2147483647 w 634"/>
                <a:gd name="T25" fmla="*/ 2147483647 h 452"/>
                <a:gd name="T26" fmla="*/ 2147483647 w 634"/>
                <a:gd name="T27" fmla="*/ 2147483647 h 452"/>
                <a:gd name="T28" fmla="*/ 2147483647 w 634"/>
                <a:gd name="T29" fmla="*/ 2147483647 h 452"/>
                <a:gd name="T30" fmla="*/ 2147483647 w 634"/>
                <a:gd name="T31" fmla="*/ 2147483647 h 452"/>
                <a:gd name="T32" fmla="*/ 2147483647 w 634"/>
                <a:gd name="T33" fmla="*/ 2147483647 h 452"/>
                <a:gd name="T34" fmla="*/ 2147483647 w 634"/>
                <a:gd name="T35" fmla="*/ 2147483647 h 452"/>
                <a:gd name="T36" fmla="*/ 2147483647 w 634"/>
                <a:gd name="T37" fmla="*/ 2147483647 h 452"/>
                <a:gd name="T38" fmla="*/ 2147483647 w 634"/>
                <a:gd name="T39" fmla="*/ 2147483647 h 452"/>
                <a:gd name="T40" fmla="*/ 2147483647 w 634"/>
                <a:gd name="T41" fmla="*/ 2147483647 h 452"/>
                <a:gd name="T42" fmla="*/ 2147483647 w 634"/>
                <a:gd name="T43" fmla="*/ 2147483647 h 452"/>
                <a:gd name="T44" fmla="*/ 2147483647 w 634"/>
                <a:gd name="T45" fmla="*/ 2147483647 h 452"/>
                <a:gd name="T46" fmla="*/ 2147483647 w 634"/>
                <a:gd name="T47" fmla="*/ 2147483647 h 452"/>
                <a:gd name="T48" fmla="*/ 2147483647 w 634"/>
                <a:gd name="T49" fmla="*/ 2147483647 h 452"/>
                <a:gd name="T50" fmla="*/ 2147483647 w 634"/>
                <a:gd name="T51" fmla="*/ 2147483647 h 452"/>
                <a:gd name="T52" fmla="*/ 2147483647 w 634"/>
                <a:gd name="T53" fmla="*/ 2147483647 h 452"/>
                <a:gd name="T54" fmla="*/ 2147483647 w 634"/>
                <a:gd name="T55" fmla="*/ 2147483647 h 452"/>
                <a:gd name="T56" fmla="*/ 2147483647 w 634"/>
                <a:gd name="T57" fmla="*/ 2147483647 h 452"/>
                <a:gd name="T58" fmla="*/ 2147483647 w 634"/>
                <a:gd name="T59" fmla="*/ 2147483647 h 452"/>
                <a:gd name="T60" fmla="*/ 2147483647 w 634"/>
                <a:gd name="T61" fmla="*/ 2147483647 h 452"/>
                <a:gd name="T62" fmla="*/ 2147483647 w 634"/>
                <a:gd name="T63" fmla="*/ 2147483647 h 452"/>
                <a:gd name="T64" fmla="*/ 2147483647 w 634"/>
                <a:gd name="T65" fmla="*/ 2147483647 h 452"/>
                <a:gd name="T66" fmla="*/ 2147483647 w 634"/>
                <a:gd name="T67" fmla="*/ 2147483647 h 452"/>
                <a:gd name="T68" fmla="*/ 2147483647 w 634"/>
                <a:gd name="T69" fmla="*/ 2147483647 h 452"/>
                <a:gd name="T70" fmla="*/ 2147483647 w 634"/>
                <a:gd name="T71" fmla="*/ 2147483647 h 452"/>
                <a:gd name="T72" fmla="*/ 2147483647 w 634"/>
                <a:gd name="T73" fmla="*/ 2147483647 h 452"/>
                <a:gd name="T74" fmla="*/ 2147483647 w 634"/>
                <a:gd name="T75" fmla="*/ 2147483647 h 452"/>
                <a:gd name="T76" fmla="*/ 2147483647 w 634"/>
                <a:gd name="T77" fmla="*/ 2147483647 h 452"/>
                <a:gd name="T78" fmla="*/ 2147483647 w 634"/>
                <a:gd name="T79" fmla="*/ 2147483647 h 452"/>
                <a:gd name="T80" fmla="*/ 2147483647 w 634"/>
                <a:gd name="T81" fmla="*/ 2147483647 h 452"/>
                <a:gd name="T82" fmla="*/ 2147483647 w 634"/>
                <a:gd name="T83" fmla="*/ 2147483647 h 452"/>
                <a:gd name="T84" fmla="*/ 2147483647 w 634"/>
                <a:gd name="T85" fmla="*/ 2147483647 h 452"/>
                <a:gd name="T86" fmla="*/ 2147483647 w 634"/>
                <a:gd name="T87" fmla="*/ 2147483647 h 452"/>
                <a:gd name="T88" fmla="*/ 2147483647 w 634"/>
                <a:gd name="T89" fmla="*/ 2147483647 h 45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34"/>
                <a:gd name="T136" fmla="*/ 0 h 452"/>
                <a:gd name="T137" fmla="*/ 634 w 634"/>
                <a:gd name="T138" fmla="*/ 452 h 45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34" h="452">
                  <a:moveTo>
                    <a:pt x="0" y="251"/>
                  </a:moveTo>
                  <a:lnTo>
                    <a:pt x="23" y="238"/>
                  </a:lnTo>
                  <a:lnTo>
                    <a:pt x="39" y="232"/>
                  </a:lnTo>
                  <a:lnTo>
                    <a:pt x="49" y="228"/>
                  </a:lnTo>
                  <a:lnTo>
                    <a:pt x="57" y="220"/>
                  </a:lnTo>
                  <a:lnTo>
                    <a:pt x="63" y="202"/>
                  </a:lnTo>
                  <a:lnTo>
                    <a:pt x="73" y="191"/>
                  </a:lnTo>
                  <a:lnTo>
                    <a:pt x="75" y="172"/>
                  </a:lnTo>
                  <a:lnTo>
                    <a:pt x="87" y="161"/>
                  </a:lnTo>
                  <a:lnTo>
                    <a:pt x="86" y="148"/>
                  </a:lnTo>
                  <a:lnTo>
                    <a:pt x="99" y="137"/>
                  </a:lnTo>
                  <a:lnTo>
                    <a:pt x="96" y="119"/>
                  </a:lnTo>
                  <a:lnTo>
                    <a:pt x="105" y="120"/>
                  </a:lnTo>
                  <a:lnTo>
                    <a:pt x="106" y="98"/>
                  </a:lnTo>
                  <a:lnTo>
                    <a:pt x="116" y="85"/>
                  </a:lnTo>
                  <a:lnTo>
                    <a:pt x="132" y="82"/>
                  </a:lnTo>
                  <a:lnTo>
                    <a:pt x="142" y="82"/>
                  </a:lnTo>
                  <a:lnTo>
                    <a:pt x="149" y="68"/>
                  </a:lnTo>
                  <a:lnTo>
                    <a:pt x="150" y="56"/>
                  </a:lnTo>
                  <a:lnTo>
                    <a:pt x="230" y="56"/>
                  </a:lnTo>
                  <a:lnTo>
                    <a:pt x="241" y="55"/>
                  </a:lnTo>
                  <a:lnTo>
                    <a:pt x="248" y="48"/>
                  </a:lnTo>
                  <a:lnTo>
                    <a:pt x="268" y="53"/>
                  </a:lnTo>
                  <a:lnTo>
                    <a:pt x="281" y="57"/>
                  </a:lnTo>
                  <a:lnTo>
                    <a:pt x="289" y="60"/>
                  </a:lnTo>
                  <a:lnTo>
                    <a:pt x="308" y="47"/>
                  </a:lnTo>
                  <a:lnTo>
                    <a:pt x="323" y="38"/>
                  </a:lnTo>
                  <a:lnTo>
                    <a:pt x="342" y="36"/>
                  </a:lnTo>
                  <a:lnTo>
                    <a:pt x="384" y="0"/>
                  </a:lnTo>
                  <a:lnTo>
                    <a:pt x="414" y="15"/>
                  </a:lnTo>
                  <a:lnTo>
                    <a:pt x="434" y="31"/>
                  </a:lnTo>
                  <a:lnTo>
                    <a:pt x="442" y="44"/>
                  </a:lnTo>
                  <a:lnTo>
                    <a:pt x="446" y="58"/>
                  </a:lnTo>
                  <a:lnTo>
                    <a:pt x="464" y="83"/>
                  </a:lnTo>
                  <a:lnTo>
                    <a:pt x="502" y="124"/>
                  </a:lnTo>
                  <a:lnTo>
                    <a:pt x="516" y="159"/>
                  </a:lnTo>
                  <a:lnTo>
                    <a:pt x="522" y="195"/>
                  </a:lnTo>
                  <a:lnTo>
                    <a:pt x="524" y="221"/>
                  </a:lnTo>
                  <a:lnTo>
                    <a:pt x="529" y="244"/>
                  </a:lnTo>
                  <a:lnTo>
                    <a:pt x="536" y="249"/>
                  </a:lnTo>
                  <a:lnTo>
                    <a:pt x="552" y="258"/>
                  </a:lnTo>
                  <a:lnTo>
                    <a:pt x="564" y="261"/>
                  </a:lnTo>
                  <a:lnTo>
                    <a:pt x="586" y="253"/>
                  </a:lnTo>
                  <a:lnTo>
                    <a:pt x="605" y="241"/>
                  </a:lnTo>
                  <a:lnTo>
                    <a:pt x="622" y="237"/>
                  </a:lnTo>
                  <a:lnTo>
                    <a:pt x="631" y="249"/>
                  </a:lnTo>
                  <a:lnTo>
                    <a:pt x="634" y="272"/>
                  </a:lnTo>
                  <a:lnTo>
                    <a:pt x="633" y="294"/>
                  </a:lnTo>
                  <a:lnTo>
                    <a:pt x="619" y="305"/>
                  </a:lnTo>
                  <a:lnTo>
                    <a:pt x="607" y="310"/>
                  </a:lnTo>
                  <a:lnTo>
                    <a:pt x="597" y="327"/>
                  </a:lnTo>
                  <a:lnTo>
                    <a:pt x="589" y="331"/>
                  </a:lnTo>
                  <a:lnTo>
                    <a:pt x="597" y="310"/>
                  </a:lnTo>
                  <a:lnTo>
                    <a:pt x="597" y="293"/>
                  </a:lnTo>
                  <a:lnTo>
                    <a:pt x="581" y="288"/>
                  </a:lnTo>
                  <a:lnTo>
                    <a:pt x="586" y="310"/>
                  </a:lnTo>
                  <a:lnTo>
                    <a:pt x="587" y="326"/>
                  </a:lnTo>
                  <a:lnTo>
                    <a:pt x="579" y="341"/>
                  </a:lnTo>
                  <a:lnTo>
                    <a:pt x="581" y="359"/>
                  </a:lnTo>
                  <a:lnTo>
                    <a:pt x="580" y="376"/>
                  </a:lnTo>
                  <a:lnTo>
                    <a:pt x="584" y="389"/>
                  </a:lnTo>
                  <a:lnTo>
                    <a:pt x="586" y="404"/>
                  </a:lnTo>
                  <a:lnTo>
                    <a:pt x="561" y="408"/>
                  </a:lnTo>
                  <a:lnTo>
                    <a:pt x="537" y="396"/>
                  </a:lnTo>
                  <a:lnTo>
                    <a:pt x="502" y="395"/>
                  </a:lnTo>
                  <a:lnTo>
                    <a:pt x="485" y="386"/>
                  </a:lnTo>
                  <a:lnTo>
                    <a:pt x="469" y="388"/>
                  </a:lnTo>
                  <a:lnTo>
                    <a:pt x="423" y="414"/>
                  </a:lnTo>
                  <a:lnTo>
                    <a:pt x="383" y="448"/>
                  </a:lnTo>
                  <a:lnTo>
                    <a:pt x="370" y="452"/>
                  </a:lnTo>
                  <a:lnTo>
                    <a:pt x="301" y="448"/>
                  </a:lnTo>
                  <a:lnTo>
                    <a:pt x="197" y="450"/>
                  </a:lnTo>
                  <a:lnTo>
                    <a:pt x="191" y="435"/>
                  </a:lnTo>
                  <a:lnTo>
                    <a:pt x="193" y="424"/>
                  </a:lnTo>
                  <a:lnTo>
                    <a:pt x="178" y="418"/>
                  </a:lnTo>
                  <a:lnTo>
                    <a:pt x="169" y="424"/>
                  </a:lnTo>
                  <a:lnTo>
                    <a:pt x="167" y="418"/>
                  </a:lnTo>
                  <a:lnTo>
                    <a:pt x="164" y="406"/>
                  </a:lnTo>
                  <a:lnTo>
                    <a:pt x="158" y="396"/>
                  </a:lnTo>
                  <a:lnTo>
                    <a:pt x="171" y="385"/>
                  </a:lnTo>
                  <a:lnTo>
                    <a:pt x="157" y="372"/>
                  </a:lnTo>
                  <a:lnTo>
                    <a:pt x="140" y="381"/>
                  </a:lnTo>
                  <a:lnTo>
                    <a:pt x="135" y="376"/>
                  </a:lnTo>
                  <a:lnTo>
                    <a:pt x="117" y="376"/>
                  </a:lnTo>
                  <a:lnTo>
                    <a:pt x="93" y="362"/>
                  </a:lnTo>
                  <a:lnTo>
                    <a:pt x="82" y="329"/>
                  </a:lnTo>
                  <a:lnTo>
                    <a:pt x="63" y="324"/>
                  </a:lnTo>
                  <a:lnTo>
                    <a:pt x="48" y="302"/>
                  </a:lnTo>
                  <a:lnTo>
                    <a:pt x="35" y="273"/>
                  </a:lnTo>
                  <a:lnTo>
                    <a:pt x="20" y="257"/>
                  </a:lnTo>
                  <a:lnTo>
                    <a:pt x="0" y="25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21" name="Freeform 14"/>
            <p:cNvSpPr>
              <a:spLocks/>
            </p:cNvSpPr>
            <p:nvPr/>
          </p:nvSpPr>
          <p:spPr bwMode="auto">
            <a:xfrm>
              <a:off x="4465232" y="4324059"/>
              <a:ext cx="1333288" cy="755549"/>
            </a:xfrm>
            <a:custGeom>
              <a:avLst/>
              <a:gdLst>
                <a:gd name="T0" fmla="*/ 2147483647 w 425"/>
                <a:gd name="T1" fmla="*/ 2147483647 h 296"/>
                <a:gd name="T2" fmla="*/ 2147483647 w 425"/>
                <a:gd name="T3" fmla="*/ 2147483647 h 296"/>
                <a:gd name="T4" fmla="*/ 2147483647 w 425"/>
                <a:gd name="T5" fmla="*/ 2147483647 h 296"/>
                <a:gd name="T6" fmla="*/ 2147483647 w 425"/>
                <a:gd name="T7" fmla="*/ 2147483647 h 296"/>
                <a:gd name="T8" fmla="*/ 2147483647 w 425"/>
                <a:gd name="T9" fmla="*/ 2147483647 h 296"/>
                <a:gd name="T10" fmla="*/ 2147483647 w 425"/>
                <a:gd name="T11" fmla="*/ 2147483647 h 296"/>
                <a:gd name="T12" fmla="*/ 2147483647 w 425"/>
                <a:gd name="T13" fmla="*/ 2147483647 h 296"/>
                <a:gd name="T14" fmla="*/ 2147483647 w 425"/>
                <a:gd name="T15" fmla="*/ 2147483647 h 296"/>
                <a:gd name="T16" fmla="*/ 2147483647 w 425"/>
                <a:gd name="T17" fmla="*/ 2147483647 h 296"/>
                <a:gd name="T18" fmla="*/ 2147483647 w 425"/>
                <a:gd name="T19" fmla="*/ 2147483647 h 296"/>
                <a:gd name="T20" fmla="*/ 2147483647 w 425"/>
                <a:gd name="T21" fmla="*/ 2147483647 h 296"/>
                <a:gd name="T22" fmla="*/ 2147483647 w 425"/>
                <a:gd name="T23" fmla="*/ 2147483647 h 296"/>
                <a:gd name="T24" fmla="*/ 2147483647 w 425"/>
                <a:gd name="T25" fmla="*/ 2147483647 h 296"/>
                <a:gd name="T26" fmla="*/ 2147483647 w 425"/>
                <a:gd name="T27" fmla="*/ 2147483647 h 296"/>
                <a:gd name="T28" fmla="*/ 2147483647 w 425"/>
                <a:gd name="T29" fmla="*/ 2147483647 h 296"/>
                <a:gd name="T30" fmla="*/ 2147483647 w 425"/>
                <a:gd name="T31" fmla="*/ 2147483647 h 296"/>
                <a:gd name="T32" fmla="*/ 2147483647 w 425"/>
                <a:gd name="T33" fmla="*/ 2147483647 h 296"/>
                <a:gd name="T34" fmla="*/ 2147483647 w 425"/>
                <a:gd name="T35" fmla="*/ 2147483647 h 296"/>
                <a:gd name="T36" fmla="*/ 2147483647 w 425"/>
                <a:gd name="T37" fmla="*/ 2147483647 h 296"/>
                <a:gd name="T38" fmla="*/ 2147483647 w 425"/>
                <a:gd name="T39" fmla="*/ 2147483647 h 296"/>
                <a:gd name="T40" fmla="*/ 2147483647 w 425"/>
                <a:gd name="T41" fmla="*/ 2147483647 h 296"/>
                <a:gd name="T42" fmla="*/ 2147483647 w 425"/>
                <a:gd name="T43" fmla="*/ 2147483647 h 296"/>
                <a:gd name="T44" fmla="*/ 2147483647 w 425"/>
                <a:gd name="T45" fmla="*/ 2147483647 h 296"/>
                <a:gd name="T46" fmla="*/ 2147483647 w 425"/>
                <a:gd name="T47" fmla="*/ 2147483647 h 296"/>
                <a:gd name="T48" fmla="*/ 2147483647 w 425"/>
                <a:gd name="T49" fmla="*/ 2147483647 h 296"/>
                <a:gd name="T50" fmla="*/ 2147483647 w 425"/>
                <a:gd name="T51" fmla="*/ 2147483647 h 296"/>
                <a:gd name="T52" fmla="*/ 0 w 425"/>
                <a:gd name="T53" fmla="*/ 2147483647 h 296"/>
                <a:gd name="T54" fmla="*/ 2147483647 w 425"/>
                <a:gd name="T55" fmla="*/ 2147483647 h 296"/>
                <a:gd name="T56" fmla="*/ 2147483647 w 425"/>
                <a:gd name="T57" fmla="*/ 2147483647 h 296"/>
                <a:gd name="T58" fmla="*/ 2147483647 w 425"/>
                <a:gd name="T59" fmla="*/ 2147483647 h 296"/>
                <a:gd name="T60" fmla="*/ 2147483647 w 425"/>
                <a:gd name="T61" fmla="*/ 2147483647 h 296"/>
                <a:gd name="T62" fmla="*/ 2147483647 w 425"/>
                <a:gd name="T63" fmla="*/ 2147483647 h 29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25"/>
                <a:gd name="T97" fmla="*/ 0 h 296"/>
                <a:gd name="T98" fmla="*/ 425 w 425"/>
                <a:gd name="T99" fmla="*/ 296 h 29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25" h="296">
                  <a:moveTo>
                    <a:pt x="59" y="296"/>
                  </a:moveTo>
                  <a:lnTo>
                    <a:pt x="78" y="296"/>
                  </a:lnTo>
                  <a:lnTo>
                    <a:pt x="93" y="288"/>
                  </a:lnTo>
                  <a:lnTo>
                    <a:pt x="116" y="286"/>
                  </a:lnTo>
                  <a:lnTo>
                    <a:pt x="135" y="284"/>
                  </a:lnTo>
                  <a:lnTo>
                    <a:pt x="142" y="278"/>
                  </a:lnTo>
                  <a:lnTo>
                    <a:pt x="159" y="273"/>
                  </a:lnTo>
                  <a:lnTo>
                    <a:pt x="180" y="265"/>
                  </a:lnTo>
                  <a:lnTo>
                    <a:pt x="193" y="276"/>
                  </a:lnTo>
                  <a:lnTo>
                    <a:pt x="209" y="280"/>
                  </a:lnTo>
                  <a:lnTo>
                    <a:pt x="222" y="285"/>
                  </a:lnTo>
                  <a:lnTo>
                    <a:pt x="243" y="285"/>
                  </a:lnTo>
                  <a:lnTo>
                    <a:pt x="271" y="274"/>
                  </a:lnTo>
                  <a:lnTo>
                    <a:pt x="283" y="253"/>
                  </a:lnTo>
                  <a:lnTo>
                    <a:pt x="279" y="234"/>
                  </a:lnTo>
                  <a:lnTo>
                    <a:pt x="290" y="227"/>
                  </a:lnTo>
                  <a:lnTo>
                    <a:pt x="297" y="228"/>
                  </a:lnTo>
                  <a:lnTo>
                    <a:pt x="309" y="218"/>
                  </a:lnTo>
                  <a:lnTo>
                    <a:pt x="323" y="213"/>
                  </a:lnTo>
                  <a:lnTo>
                    <a:pt x="342" y="202"/>
                  </a:lnTo>
                  <a:lnTo>
                    <a:pt x="351" y="198"/>
                  </a:lnTo>
                  <a:lnTo>
                    <a:pt x="367" y="206"/>
                  </a:lnTo>
                  <a:lnTo>
                    <a:pt x="384" y="205"/>
                  </a:lnTo>
                  <a:lnTo>
                    <a:pt x="398" y="201"/>
                  </a:lnTo>
                  <a:lnTo>
                    <a:pt x="409" y="201"/>
                  </a:lnTo>
                  <a:lnTo>
                    <a:pt x="408" y="190"/>
                  </a:lnTo>
                  <a:lnTo>
                    <a:pt x="395" y="179"/>
                  </a:lnTo>
                  <a:lnTo>
                    <a:pt x="383" y="162"/>
                  </a:lnTo>
                  <a:lnTo>
                    <a:pt x="371" y="149"/>
                  </a:lnTo>
                  <a:lnTo>
                    <a:pt x="384" y="131"/>
                  </a:lnTo>
                  <a:lnTo>
                    <a:pt x="395" y="120"/>
                  </a:lnTo>
                  <a:lnTo>
                    <a:pt x="389" y="94"/>
                  </a:lnTo>
                  <a:lnTo>
                    <a:pt x="394" y="81"/>
                  </a:lnTo>
                  <a:lnTo>
                    <a:pt x="397" y="69"/>
                  </a:lnTo>
                  <a:lnTo>
                    <a:pt x="409" y="60"/>
                  </a:lnTo>
                  <a:lnTo>
                    <a:pt x="425" y="50"/>
                  </a:lnTo>
                  <a:lnTo>
                    <a:pt x="424" y="17"/>
                  </a:lnTo>
                  <a:lnTo>
                    <a:pt x="401" y="22"/>
                  </a:lnTo>
                  <a:lnTo>
                    <a:pt x="385" y="15"/>
                  </a:lnTo>
                  <a:lnTo>
                    <a:pt x="379" y="10"/>
                  </a:lnTo>
                  <a:lnTo>
                    <a:pt x="340" y="7"/>
                  </a:lnTo>
                  <a:lnTo>
                    <a:pt x="329" y="1"/>
                  </a:lnTo>
                  <a:lnTo>
                    <a:pt x="307" y="0"/>
                  </a:lnTo>
                  <a:lnTo>
                    <a:pt x="268" y="23"/>
                  </a:lnTo>
                  <a:lnTo>
                    <a:pt x="222" y="59"/>
                  </a:lnTo>
                  <a:lnTo>
                    <a:pt x="207" y="64"/>
                  </a:lnTo>
                  <a:lnTo>
                    <a:pt x="156" y="61"/>
                  </a:lnTo>
                  <a:lnTo>
                    <a:pt x="130" y="63"/>
                  </a:lnTo>
                  <a:lnTo>
                    <a:pt x="38" y="63"/>
                  </a:lnTo>
                  <a:lnTo>
                    <a:pt x="31" y="52"/>
                  </a:lnTo>
                  <a:lnTo>
                    <a:pt x="33" y="38"/>
                  </a:lnTo>
                  <a:lnTo>
                    <a:pt x="19" y="34"/>
                  </a:lnTo>
                  <a:lnTo>
                    <a:pt x="6" y="43"/>
                  </a:lnTo>
                  <a:lnTo>
                    <a:pt x="0" y="48"/>
                  </a:lnTo>
                  <a:lnTo>
                    <a:pt x="0" y="91"/>
                  </a:lnTo>
                  <a:lnTo>
                    <a:pt x="24" y="125"/>
                  </a:lnTo>
                  <a:lnTo>
                    <a:pt x="36" y="141"/>
                  </a:lnTo>
                  <a:lnTo>
                    <a:pt x="10" y="181"/>
                  </a:lnTo>
                  <a:lnTo>
                    <a:pt x="12" y="214"/>
                  </a:lnTo>
                  <a:lnTo>
                    <a:pt x="29" y="223"/>
                  </a:lnTo>
                  <a:lnTo>
                    <a:pt x="40" y="231"/>
                  </a:lnTo>
                  <a:lnTo>
                    <a:pt x="48" y="244"/>
                  </a:lnTo>
                  <a:lnTo>
                    <a:pt x="55" y="262"/>
                  </a:lnTo>
                  <a:lnTo>
                    <a:pt x="59" y="273"/>
                  </a:lnTo>
                  <a:lnTo>
                    <a:pt x="59" y="29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22" name="Freeform 15"/>
            <p:cNvSpPr>
              <a:spLocks/>
            </p:cNvSpPr>
            <p:nvPr/>
          </p:nvSpPr>
          <p:spPr bwMode="auto">
            <a:xfrm>
              <a:off x="4111356" y="4865149"/>
              <a:ext cx="532601" cy="372826"/>
            </a:xfrm>
            <a:custGeom>
              <a:avLst/>
              <a:gdLst>
                <a:gd name="T0" fmla="*/ 2147483647 w 171"/>
                <a:gd name="T1" fmla="*/ 2147483647 h 146"/>
                <a:gd name="T2" fmla="*/ 2147483647 w 171"/>
                <a:gd name="T3" fmla="*/ 2147483647 h 146"/>
                <a:gd name="T4" fmla="*/ 2147483647 w 171"/>
                <a:gd name="T5" fmla="*/ 2147483647 h 146"/>
                <a:gd name="T6" fmla="*/ 2147483647 w 171"/>
                <a:gd name="T7" fmla="*/ 2147483647 h 146"/>
                <a:gd name="T8" fmla="*/ 2147483647 w 171"/>
                <a:gd name="T9" fmla="*/ 2147483647 h 146"/>
                <a:gd name="T10" fmla="*/ 2147483647 w 171"/>
                <a:gd name="T11" fmla="*/ 2147483647 h 146"/>
                <a:gd name="T12" fmla="*/ 2147483647 w 171"/>
                <a:gd name="T13" fmla="*/ 2147483647 h 146"/>
                <a:gd name="T14" fmla="*/ 2147483647 w 171"/>
                <a:gd name="T15" fmla="*/ 2147483647 h 146"/>
                <a:gd name="T16" fmla="*/ 2147483647 w 171"/>
                <a:gd name="T17" fmla="*/ 0 h 146"/>
                <a:gd name="T18" fmla="*/ 2147483647 w 171"/>
                <a:gd name="T19" fmla="*/ 2147483647 h 146"/>
                <a:gd name="T20" fmla="*/ 2147483647 w 171"/>
                <a:gd name="T21" fmla="*/ 2147483647 h 146"/>
                <a:gd name="T22" fmla="*/ 2147483647 w 171"/>
                <a:gd name="T23" fmla="*/ 2147483647 h 146"/>
                <a:gd name="T24" fmla="*/ 2147483647 w 171"/>
                <a:gd name="T25" fmla="*/ 2147483647 h 146"/>
                <a:gd name="T26" fmla="*/ 2147483647 w 171"/>
                <a:gd name="T27" fmla="*/ 2147483647 h 146"/>
                <a:gd name="T28" fmla="*/ 2147483647 w 171"/>
                <a:gd name="T29" fmla="*/ 2147483647 h 146"/>
                <a:gd name="T30" fmla="*/ 2147483647 w 171"/>
                <a:gd name="T31" fmla="*/ 2147483647 h 146"/>
                <a:gd name="T32" fmla="*/ 2147483647 w 171"/>
                <a:gd name="T33" fmla="*/ 2147483647 h 146"/>
                <a:gd name="T34" fmla="*/ 2147483647 w 171"/>
                <a:gd name="T35" fmla="*/ 2147483647 h 146"/>
                <a:gd name="T36" fmla="*/ 2147483647 w 171"/>
                <a:gd name="T37" fmla="*/ 2147483647 h 146"/>
                <a:gd name="T38" fmla="*/ 2147483647 w 171"/>
                <a:gd name="T39" fmla="*/ 2147483647 h 146"/>
                <a:gd name="T40" fmla="*/ 2147483647 w 171"/>
                <a:gd name="T41" fmla="*/ 2147483647 h 146"/>
                <a:gd name="T42" fmla="*/ 2147483647 w 171"/>
                <a:gd name="T43" fmla="*/ 2147483647 h 146"/>
                <a:gd name="T44" fmla="*/ 2147483647 w 171"/>
                <a:gd name="T45" fmla="*/ 2147483647 h 146"/>
                <a:gd name="T46" fmla="*/ 0 w 171"/>
                <a:gd name="T47" fmla="*/ 2147483647 h 146"/>
                <a:gd name="T48" fmla="*/ 0 w 171"/>
                <a:gd name="T49" fmla="*/ 2147483647 h 146"/>
                <a:gd name="T50" fmla="*/ 2147483647 w 171"/>
                <a:gd name="T51" fmla="*/ 2147483647 h 1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71"/>
                <a:gd name="T79" fmla="*/ 0 h 146"/>
                <a:gd name="T80" fmla="*/ 171 w 171"/>
                <a:gd name="T81" fmla="*/ 146 h 1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71" h="146">
                  <a:moveTo>
                    <a:pt x="2" y="32"/>
                  </a:moveTo>
                  <a:lnTo>
                    <a:pt x="17" y="32"/>
                  </a:lnTo>
                  <a:lnTo>
                    <a:pt x="18" y="17"/>
                  </a:lnTo>
                  <a:lnTo>
                    <a:pt x="34" y="8"/>
                  </a:lnTo>
                  <a:lnTo>
                    <a:pt x="50" y="14"/>
                  </a:lnTo>
                  <a:lnTo>
                    <a:pt x="61" y="6"/>
                  </a:lnTo>
                  <a:lnTo>
                    <a:pt x="79" y="7"/>
                  </a:lnTo>
                  <a:lnTo>
                    <a:pt x="91" y="2"/>
                  </a:lnTo>
                  <a:lnTo>
                    <a:pt x="121" y="0"/>
                  </a:lnTo>
                  <a:lnTo>
                    <a:pt x="140" y="11"/>
                  </a:lnTo>
                  <a:lnTo>
                    <a:pt x="156" y="27"/>
                  </a:lnTo>
                  <a:lnTo>
                    <a:pt x="165" y="45"/>
                  </a:lnTo>
                  <a:lnTo>
                    <a:pt x="171" y="67"/>
                  </a:lnTo>
                  <a:lnTo>
                    <a:pt x="171" y="84"/>
                  </a:lnTo>
                  <a:lnTo>
                    <a:pt x="162" y="92"/>
                  </a:lnTo>
                  <a:lnTo>
                    <a:pt x="146" y="108"/>
                  </a:lnTo>
                  <a:lnTo>
                    <a:pt x="118" y="109"/>
                  </a:lnTo>
                  <a:lnTo>
                    <a:pt x="85" y="131"/>
                  </a:lnTo>
                  <a:lnTo>
                    <a:pt x="75" y="138"/>
                  </a:lnTo>
                  <a:lnTo>
                    <a:pt x="53" y="139"/>
                  </a:lnTo>
                  <a:lnTo>
                    <a:pt x="42" y="146"/>
                  </a:lnTo>
                  <a:lnTo>
                    <a:pt x="26" y="139"/>
                  </a:lnTo>
                  <a:lnTo>
                    <a:pt x="6" y="112"/>
                  </a:lnTo>
                  <a:lnTo>
                    <a:pt x="0" y="83"/>
                  </a:lnTo>
                  <a:lnTo>
                    <a:pt x="0" y="56"/>
                  </a:lnTo>
                  <a:lnTo>
                    <a:pt x="2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3" name="Freeform 16"/>
            <p:cNvSpPr>
              <a:spLocks/>
            </p:cNvSpPr>
            <p:nvPr/>
          </p:nvSpPr>
          <p:spPr bwMode="auto">
            <a:xfrm>
              <a:off x="3836116" y="4818962"/>
              <a:ext cx="403919" cy="709361"/>
            </a:xfrm>
            <a:custGeom>
              <a:avLst/>
              <a:gdLst>
                <a:gd name="T0" fmla="*/ 0 w 130"/>
                <a:gd name="T1" fmla="*/ 2147483647 h 276"/>
                <a:gd name="T2" fmla="*/ 2147483647 w 130"/>
                <a:gd name="T3" fmla="*/ 2147483647 h 276"/>
                <a:gd name="T4" fmla="*/ 0 w 130"/>
                <a:gd name="T5" fmla="*/ 2147483647 h 276"/>
                <a:gd name="T6" fmla="*/ 2147483647 w 130"/>
                <a:gd name="T7" fmla="*/ 2147483647 h 276"/>
                <a:gd name="T8" fmla="*/ 2147483647 w 130"/>
                <a:gd name="T9" fmla="*/ 2147483647 h 276"/>
                <a:gd name="T10" fmla="*/ 2147483647 w 130"/>
                <a:gd name="T11" fmla="*/ 0 h 276"/>
                <a:gd name="T12" fmla="*/ 2147483647 w 130"/>
                <a:gd name="T13" fmla="*/ 2147483647 h 276"/>
                <a:gd name="T14" fmla="*/ 2147483647 w 130"/>
                <a:gd name="T15" fmla="*/ 2147483647 h 276"/>
                <a:gd name="T16" fmla="*/ 2147483647 w 130"/>
                <a:gd name="T17" fmla="*/ 2147483647 h 276"/>
                <a:gd name="T18" fmla="*/ 2147483647 w 130"/>
                <a:gd name="T19" fmla="*/ 2147483647 h 276"/>
                <a:gd name="T20" fmla="*/ 2147483647 w 130"/>
                <a:gd name="T21" fmla="*/ 2147483647 h 276"/>
                <a:gd name="T22" fmla="*/ 2147483647 w 130"/>
                <a:gd name="T23" fmla="*/ 2147483647 h 276"/>
                <a:gd name="T24" fmla="*/ 2147483647 w 130"/>
                <a:gd name="T25" fmla="*/ 2147483647 h 276"/>
                <a:gd name="T26" fmla="*/ 2147483647 w 130"/>
                <a:gd name="T27" fmla="*/ 2147483647 h 276"/>
                <a:gd name="T28" fmla="*/ 2147483647 w 130"/>
                <a:gd name="T29" fmla="*/ 2147483647 h 276"/>
                <a:gd name="T30" fmla="*/ 2147483647 w 130"/>
                <a:gd name="T31" fmla="*/ 2147483647 h 276"/>
                <a:gd name="T32" fmla="*/ 2147483647 w 130"/>
                <a:gd name="T33" fmla="*/ 2147483647 h 276"/>
                <a:gd name="T34" fmla="*/ 2147483647 w 130"/>
                <a:gd name="T35" fmla="*/ 2147483647 h 276"/>
                <a:gd name="T36" fmla="*/ 2147483647 w 130"/>
                <a:gd name="T37" fmla="*/ 2147483647 h 276"/>
                <a:gd name="T38" fmla="*/ 2147483647 w 130"/>
                <a:gd name="T39" fmla="*/ 2147483647 h 276"/>
                <a:gd name="T40" fmla="*/ 2147483647 w 130"/>
                <a:gd name="T41" fmla="*/ 2147483647 h 276"/>
                <a:gd name="T42" fmla="*/ 2147483647 w 130"/>
                <a:gd name="T43" fmla="*/ 2147483647 h 276"/>
                <a:gd name="T44" fmla="*/ 2147483647 w 130"/>
                <a:gd name="T45" fmla="*/ 2147483647 h 276"/>
                <a:gd name="T46" fmla="*/ 2147483647 w 130"/>
                <a:gd name="T47" fmla="*/ 2147483647 h 276"/>
                <a:gd name="T48" fmla="*/ 2147483647 w 130"/>
                <a:gd name="T49" fmla="*/ 2147483647 h 276"/>
                <a:gd name="T50" fmla="*/ 2147483647 w 130"/>
                <a:gd name="T51" fmla="*/ 2147483647 h 276"/>
                <a:gd name="T52" fmla="*/ 2147483647 w 130"/>
                <a:gd name="T53" fmla="*/ 2147483647 h 276"/>
                <a:gd name="T54" fmla="*/ 2147483647 w 130"/>
                <a:gd name="T55" fmla="*/ 2147483647 h 276"/>
                <a:gd name="T56" fmla="*/ 2147483647 w 130"/>
                <a:gd name="T57" fmla="*/ 2147483647 h 276"/>
                <a:gd name="T58" fmla="*/ 2147483647 w 130"/>
                <a:gd name="T59" fmla="*/ 2147483647 h 276"/>
                <a:gd name="T60" fmla="*/ 2147483647 w 130"/>
                <a:gd name="T61" fmla="*/ 2147483647 h 276"/>
                <a:gd name="T62" fmla="*/ 2147483647 w 130"/>
                <a:gd name="T63" fmla="*/ 2147483647 h 276"/>
                <a:gd name="T64" fmla="*/ 2147483647 w 130"/>
                <a:gd name="T65" fmla="*/ 2147483647 h 276"/>
                <a:gd name="T66" fmla="*/ 2147483647 w 130"/>
                <a:gd name="T67" fmla="*/ 2147483647 h 276"/>
                <a:gd name="T68" fmla="*/ 2147483647 w 130"/>
                <a:gd name="T69" fmla="*/ 2147483647 h 276"/>
                <a:gd name="T70" fmla="*/ 2147483647 w 130"/>
                <a:gd name="T71" fmla="*/ 2147483647 h 276"/>
                <a:gd name="T72" fmla="*/ 2147483647 w 130"/>
                <a:gd name="T73" fmla="*/ 2147483647 h 276"/>
                <a:gd name="T74" fmla="*/ 2147483647 w 130"/>
                <a:gd name="T75" fmla="*/ 2147483647 h 276"/>
                <a:gd name="T76" fmla="*/ 2147483647 w 130"/>
                <a:gd name="T77" fmla="*/ 2147483647 h 276"/>
                <a:gd name="T78" fmla="*/ 2147483647 w 130"/>
                <a:gd name="T79" fmla="*/ 2147483647 h 276"/>
                <a:gd name="T80" fmla="*/ 2147483647 w 130"/>
                <a:gd name="T81" fmla="*/ 2147483647 h 276"/>
                <a:gd name="T82" fmla="*/ 2147483647 w 130"/>
                <a:gd name="T83" fmla="*/ 2147483647 h 276"/>
                <a:gd name="T84" fmla="*/ 2147483647 w 130"/>
                <a:gd name="T85" fmla="*/ 2147483647 h 276"/>
                <a:gd name="T86" fmla="*/ 0 w 130"/>
                <a:gd name="T87" fmla="*/ 2147483647 h 27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0"/>
                <a:gd name="T133" fmla="*/ 0 h 276"/>
                <a:gd name="T134" fmla="*/ 130 w 130"/>
                <a:gd name="T135" fmla="*/ 276 h 27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0" h="276">
                  <a:moveTo>
                    <a:pt x="0" y="78"/>
                  </a:moveTo>
                  <a:lnTo>
                    <a:pt x="10" y="48"/>
                  </a:lnTo>
                  <a:lnTo>
                    <a:pt x="0" y="34"/>
                  </a:lnTo>
                  <a:lnTo>
                    <a:pt x="9" y="19"/>
                  </a:lnTo>
                  <a:lnTo>
                    <a:pt x="9" y="13"/>
                  </a:lnTo>
                  <a:lnTo>
                    <a:pt x="26" y="0"/>
                  </a:lnTo>
                  <a:lnTo>
                    <a:pt x="47" y="10"/>
                  </a:lnTo>
                  <a:lnTo>
                    <a:pt x="53" y="8"/>
                  </a:lnTo>
                  <a:lnTo>
                    <a:pt x="55" y="19"/>
                  </a:lnTo>
                  <a:lnTo>
                    <a:pt x="88" y="39"/>
                  </a:lnTo>
                  <a:lnTo>
                    <a:pt x="94" y="53"/>
                  </a:lnTo>
                  <a:lnTo>
                    <a:pt x="87" y="93"/>
                  </a:lnTo>
                  <a:lnTo>
                    <a:pt x="90" y="118"/>
                  </a:lnTo>
                  <a:lnTo>
                    <a:pt x="100" y="138"/>
                  </a:lnTo>
                  <a:lnTo>
                    <a:pt x="121" y="161"/>
                  </a:lnTo>
                  <a:lnTo>
                    <a:pt x="130" y="175"/>
                  </a:lnTo>
                  <a:lnTo>
                    <a:pt x="128" y="194"/>
                  </a:lnTo>
                  <a:lnTo>
                    <a:pt x="113" y="215"/>
                  </a:lnTo>
                  <a:lnTo>
                    <a:pt x="103" y="234"/>
                  </a:lnTo>
                  <a:lnTo>
                    <a:pt x="94" y="242"/>
                  </a:lnTo>
                  <a:lnTo>
                    <a:pt x="89" y="257"/>
                  </a:lnTo>
                  <a:lnTo>
                    <a:pt x="78" y="271"/>
                  </a:lnTo>
                  <a:lnTo>
                    <a:pt x="72" y="276"/>
                  </a:lnTo>
                  <a:lnTo>
                    <a:pt x="58" y="269"/>
                  </a:lnTo>
                  <a:lnTo>
                    <a:pt x="55" y="257"/>
                  </a:lnTo>
                  <a:lnTo>
                    <a:pt x="50" y="249"/>
                  </a:lnTo>
                  <a:lnTo>
                    <a:pt x="33" y="243"/>
                  </a:lnTo>
                  <a:lnTo>
                    <a:pt x="26" y="241"/>
                  </a:lnTo>
                  <a:lnTo>
                    <a:pt x="16" y="235"/>
                  </a:lnTo>
                  <a:lnTo>
                    <a:pt x="13" y="224"/>
                  </a:lnTo>
                  <a:lnTo>
                    <a:pt x="8" y="219"/>
                  </a:lnTo>
                  <a:lnTo>
                    <a:pt x="1" y="205"/>
                  </a:lnTo>
                  <a:lnTo>
                    <a:pt x="14" y="205"/>
                  </a:lnTo>
                  <a:lnTo>
                    <a:pt x="14" y="191"/>
                  </a:lnTo>
                  <a:lnTo>
                    <a:pt x="7" y="184"/>
                  </a:lnTo>
                  <a:lnTo>
                    <a:pt x="3" y="153"/>
                  </a:lnTo>
                  <a:lnTo>
                    <a:pt x="6" y="144"/>
                  </a:lnTo>
                  <a:lnTo>
                    <a:pt x="14" y="136"/>
                  </a:lnTo>
                  <a:lnTo>
                    <a:pt x="11" y="127"/>
                  </a:lnTo>
                  <a:lnTo>
                    <a:pt x="6" y="115"/>
                  </a:lnTo>
                  <a:lnTo>
                    <a:pt x="12" y="101"/>
                  </a:lnTo>
                  <a:lnTo>
                    <a:pt x="17" y="91"/>
                  </a:lnTo>
                  <a:lnTo>
                    <a:pt x="15" y="79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4" name="Freeform 17"/>
            <p:cNvSpPr>
              <a:spLocks/>
            </p:cNvSpPr>
            <p:nvPr/>
          </p:nvSpPr>
          <p:spPr bwMode="auto">
            <a:xfrm>
              <a:off x="3425051" y="4581409"/>
              <a:ext cx="614814" cy="438814"/>
            </a:xfrm>
            <a:custGeom>
              <a:avLst/>
              <a:gdLst>
                <a:gd name="T0" fmla="*/ 2147483647 w 196"/>
                <a:gd name="T1" fmla="*/ 2147483647 h 172"/>
                <a:gd name="T2" fmla="*/ 2147483647 w 196"/>
                <a:gd name="T3" fmla="*/ 2147483647 h 172"/>
                <a:gd name="T4" fmla="*/ 2147483647 w 196"/>
                <a:gd name="T5" fmla="*/ 2147483647 h 172"/>
                <a:gd name="T6" fmla="*/ 2147483647 w 196"/>
                <a:gd name="T7" fmla="*/ 2147483647 h 172"/>
                <a:gd name="T8" fmla="*/ 2147483647 w 196"/>
                <a:gd name="T9" fmla="*/ 2147483647 h 172"/>
                <a:gd name="T10" fmla="*/ 2147483647 w 196"/>
                <a:gd name="T11" fmla="*/ 2147483647 h 172"/>
                <a:gd name="T12" fmla="*/ 2147483647 w 196"/>
                <a:gd name="T13" fmla="*/ 2147483647 h 172"/>
                <a:gd name="T14" fmla="*/ 2147483647 w 196"/>
                <a:gd name="T15" fmla="*/ 2147483647 h 172"/>
                <a:gd name="T16" fmla="*/ 2147483647 w 196"/>
                <a:gd name="T17" fmla="*/ 2147483647 h 172"/>
                <a:gd name="T18" fmla="*/ 2147483647 w 196"/>
                <a:gd name="T19" fmla="*/ 2147483647 h 172"/>
                <a:gd name="T20" fmla="*/ 2147483647 w 196"/>
                <a:gd name="T21" fmla="*/ 2147483647 h 172"/>
                <a:gd name="T22" fmla="*/ 2147483647 w 196"/>
                <a:gd name="T23" fmla="*/ 2147483647 h 172"/>
                <a:gd name="T24" fmla="*/ 2147483647 w 196"/>
                <a:gd name="T25" fmla="*/ 2147483647 h 172"/>
                <a:gd name="T26" fmla="*/ 2147483647 w 196"/>
                <a:gd name="T27" fmla="*/ 2147483647 h 172"/>
                <a:gd name="T28" fmla="*/ 2147483647 w 196"/>
                <a:gd name="T29" fmla="*/ 2147483647 h 172"/>
                <a:gd name="T30" fmla="*/ 2147483647 w 196"/>
                <a:gd name="T31" fmla="*/ 2147483647 h 172"/>
                <a:gd name="T32" fmla="*/ 2147483647 w 196"/>
                <a:gd name="T33" fmla="*/ 2147483647 h 172"/>
                <a:gd name="T34" fmla="*/ 2147483647 w 196"/>
                <a:gd name="T35" fmla="*/ 2147483647 h 172"/>
                <a:gd name="T36" fmla="*/ 2147483647 w 196"/>
                <a:gd name="T37" fmla="*/ 2147483647 h 172"/>
                <a:gd name="T38" fmla="*/ 2147483647 w 196"/>
                <a:gd name="T39" fmla="*/ 2147483647 h 172"/>
                <a:gd name="T40" fmla="*/ 2147483647 w 196"/>
                <a:gd name="T41" fmla="*/ 2147483647 h 172"/>
                <a:gd name="T42" fmla="*/ 2147483647 w 196"/>
                <a:gd name="T43" fmla="*/ 2147483647 h 172"/>
                <a:gd name="T44" fmla="*/ 2147483647 w 196"/>
                <a:gd name="T45" fmla="*/ 2147483647 h 172"/>
                <a:gd name="T46" fmla="*/ 2147483647 w 196"/>
                <a:gd name="T47" fmla="*/ 2147483647 h 172"/>
                <a:gd name="T48" fmla="*/ 2147483647 w 196"/>
                <a:gd name="T49" fmla="*/ 2147483647 h 172"/>
                <a:gd name="T50" fmla="*/ 2147483647 w 196"/>
                <a:gd name="T51" fmla="*/ 2147483647 h 172"/>
                <a:gd name="T52" fmla="*/ 2147483647 w 196"/>
                <a:gd name="T53" fmla="*/ 2147483647 h 172"/>
                <a:gd name="T54" fmla="*/ 2147483647 w 196"/>
                <a:gd name="T55" fmla="*/ 0 h 172"/>
                <a:gd name="T56" fmla="*/ 2147483647 w 196"/>
                <a:gd name="T57" fmla="*/ 2147483647 h 172"/>
                <a:gd name="T58" fmla="*/ 2147483647 w 196"/>
                <a:gd name="T59" fmla="*/ 2147483647 h 172"/>
                <a:gd name="T60" fmla="*/ 2147483647 w 196"/>
                <a:gd name="T61" fmla="*/ 2147483647 h 172"/>
                <a:gd name="T62" fmla="*/ 2147483647 w 196"/>
                <a:gd name="T63" fmla="*/ 2147483647 h 172"/>
                <a:gd name="T64" fmla="*/ 2147483647 w 196"/>
                <a:gd name="T65" fmla="*/ 2147483647 h 172"/>
                <a:gd name="T66" fmla="*/ 2147483647 w 196"/>
                <a:gd name="T67" fmla="*/ 2147483647 h 172"/>
                <a:gd name="T68" fmla="*/ 2147483647 w 196"/>
                <a:gd name="T69" fmla="*/ 2147483647 h 172"/>
                <a:gd name="T70" fmla="*/ 2147483647 w 196"/>
                <a:gd name="T71" fmla="*/ 2147483647 h 172"/>
                <a:gd name="T72" fmla="*/ 2147483647 w 196"/>
                <a:gd name="T73" fmla="*/ 2147483647 h 172"/>
                <a:gd name="T74" fmla="*/ 2147483647 w 196"/>
                <a:gd name="T75" fmla="*/ 2147483647 h 172"/>
                <a:gd name="T76" fmla="*/ 2147483647 w 196"/>
                <a:gd name="T77" fmla="*/ 2147483647 h 172"/>
                <a:gd name="T78" fmla="*/ 2147483647 w 196"/>
                <a:gd name="T79" fmla="*/ 2147483647 h 172"/>
                <a:gd name="T80" fmla="*/ 2147483647 w 196"/>
                <a:gd name="T81" fmla="*/ 2147483647 h 172"/>
                <a:gd name="T82" fmla="*/ 2147483647 w 196"/>
                <a:gd name="T83" fmla="*/ 2147483647 h 172"/>
                <a:gd name="T84" fmla="*/ 2147483647 w 196"/>
                <a:gd name="T85" fmla="*/ 2147483647 h 172"/>
                <a:gd name="T86" fmla="*/ 2147483647 w 196"/>
                <a:gd name="T87" fmla="*/ 2147483647 h 172"/>
                <a:gd name="T88" fmla="*/ 0 w 196"/>
                <a:gd name="T89" fmla="*/ 2147483647 h 172"/>
                <a:gd name="T90" fmla="*/ 2147483647 w 196"/>
                <a:gd name="T91" fmla="*/ 2147483647 h 17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96"/>
                <a:gd name="T139" fmla="*/ 0 h 172"/>
                <a:gd name="T140" fmla="*/ 196 w 196"/>
                <a:gd name="T141" fmla="*/ 172 h 17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96" h="172">
                  <a:moveTo>
                    <a:pt x="6" y="81"/>
                  </a:moveTo>
                  <a:lnTo>
                    <a:pt x="23" y="83"/>
                  </a:lnTo>
                  <a:lnTo>
                    <a:pt x="39" y="94"/>
                  </a:lnTo>
                  <a:lnTo>
                    <a:pt x="53" y="104"/>
                  </a:lnTo>
                  <a:lnTo>
                    <a:pt x="71" y="114"/>
                  </a:lnTo>
                  <a:lnTo>
                    <a:pt x="86" y="123"/>
                  </a:lnTo>
                  <a:lnTo>
                    <a:pt x="109" y="142"/>
                  </a:lnTo>
                  <a:lnTo>
                    <a:pt x="125" y="162"/>
                  </a:lnTo>
                  <a:lnTo>
                    <a:pt x="131" y="172"/>
                  </a:lnTo>
                  <a:lnTo>
                    <a:pt x="135" y="153"/>
                  </a:lnTo>
                  <a:lnTo>
                    <a:pt x="140" y="143"/>
                  </a:lnTo>
                  <a:lnTo>
                    <a:pt x="131" y="129"/>
                  </a:lnTo>
                  <a:lnTo>
                    <a:pt x="138" y="120"/>
                  </a:lnTo>
                  <a:lnTo>
                    <a:pt x="139" y="110"/>
                  </a:lnTo>
                  <a:lnTo>
                    <a:pt x="151" y="102"/>
                  </a:lnTo>
                  <a:lnTo>
                    <a:pt x="157" y="94"/>
                  </a:lnTo>
                  <a:lnTo>
                    <a:pt x="169" y="101"/>
                  </a:lnTo>
                  <a:lnTo>
                    <a:pt x="178" y="104"/>
                  </a:lnTo>
                  <a:lnTo>
                    <a:pt x="185" y="99"/>
                  </a:lnTo>
                  <a:lnTo>
                    <a:pt x="185" y="86"/>
                  </a:lnTo>
                  <a:lnTo>
                    <a:pt x="174" y="79"/>
                  </a:lnTo>
                  <a:lnTo>
                    <a:pt x="196" y="77"/>
                  </a:lnTo>
                  <a:lnTo>
                    <a:pt x="192" y="66"/>
                  </a:lnTo>
                  <a:lnTo>
                    <a:pt x="172" y="55"/>
                  </a:lnTo>
                  <a:lnTo>
                    <a:pt x="170" y="37"/>
                  </a:lnTo>
                  <a:lnTo>
                    <a:pt x="146" y="21"/>
                  </a:lnTo>
                  <a:lnTo>
                    <a:pt x="126" y="14"/>
                  </a:lnTo>
                  <a:lnTo>
                    <a:pt x="121" y="0"/>
                  </a:lnTo>
                  <a:lnTo>
                    <a:pt x="109" y="6"/>
                  </a:lnTo>
                  <a:lnTo>
                    <a:pt x="95" y="5"/>
                  </a:lnTo>
                  <a:lnTo>
                    <a:pt x="110" y="23"/>
                  </a:lnTo>
                  <a:lnTo>
                    <a:pt x="104" y="34"/>
                  </a:lnTo>
                  <a:lnTo>
                    <a:pt x="95" y="24"/>
                  </a:lnTo>
                  <a:lnTo>
                    <a:pt x="86" y="23"/>
                  </a:lnTo>
                  <a:lnTo>
                    <a:pt x="79" y="33"/>
                  </a:lnTo>
                  <a:lnTo>
                    <a:pt x="76" y="56"/>
                  </a:lnTo>
                  <a:lnTo>
                    <a:pt x="68" y="60"/>
                  </a:lnTo>
                  <a:lnTo>
                    <a:pt x="68" y="76"/>
                  </a:lnTo>
                  <a:lnTo>
                    <a:pt x="73" y="94"/>
                  </a:lnTo>
                  <a:lnTo>
                    <a:pt x="68" y="100"/>
                  </a:lnTo>
                  <a:lnTo>
                    <a:pt x="61" y="95"/>
                  </a:lnTo>
                  <a:lnTo>
                    <a:pt x="33" y="79"/>
                  </a:lnTo>
                  <a:lnTo>
                    <a:pt x="19" y="71"/>
                  </a:lnTo>
                  <a:lnTo>
                    <a:pt x="6" y="65"/>
                  </a:lnTo>
                  <a:lnTo>
                    <a:pt x="0" y="73"/>
                  </a:lnTo>
                  <a:lnTo>
                    <a:pt x="6" y="8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5" name="Freeform 18"/>
            <p:cNvSpPr>
              <a:spLocks/>
            </p:cNvSpPr>
            <p:nvPr/>
          </p:nvSpPr>
          <p:spPr bwMode="auto">
            <a:xfrm>
              <a:off x="2560027" y="3878647"/>
              <a:ext cx="1233201" cy="920513"/>
            </a:xfrm>
            <a:custGeom>
              <a:avLst/>
              <a:gdLst>
                <a:gd name="T0" fmla="*/ 2147483647 w 393"/>
                <a:gd name="T1" fmla="*/ 2147483647 h 360"/>
                <a:gd name="T2" fmla="*/ 2147483647 w 393"/>
                <a:gd name="T3" fmla="*/ 2147483647 h 360"/>
                <a:gd name="T4" fmla="*/ 2147483647 w 393"/>
                <a:gd name="T5" fmla="*/ 2147483647 h 360"/>
                <a:gd name="T6" fmla="*/ 2147483647 w 393"/>
                <a:gd name="T7" fmla="*/ 2147483647 h 360"/>
                <a:gd name="T8" fmla="*/ 2147483647 w 393"/>
                <a:gd name="T9" fmla="*/ 2147483647 h 360"/>
                <a:gd name="T10" fmla="*/ 2147483647 w 393"/>
                <a:gd name="T11" fmla="*/ 2147483647 h 360"/>
                <a:gd name="T12" fmla="*/ 2147483647 w 393"/>
                <a:gd name="T13" fmla="*/ 2147483647 h 360"/>
                <a:gd name="T14" fmla="*/ 2147483647 w 393"/>
                <a:gd name="T15" fmla="*/ 2147483647 h 360"/>
                <a:gd name="T16" fmla="*/ 2147483647 w 393"/>
                <a:gd name="T17" fmla="*/ 2147483647 h 360"/>
                <a:gd name="T18" fmla="*/ 2147483647 w 393"/>
                <a:gd name="T19" fmla="*/ 2147483647 h 360"/>
                <a:gd name="T20" fmla="*/ 2147483647 w 393"/>
                <a:gd name="T21" fmla="*/ 0 h 360"/>
                <a:gd name="T22" fmla="*/ 2147483647 w 393"/>
                <a:gd name="T23" fmla="*/ 2147483647 h 360"/>
                <a:gd name="T24" fmla="*/ 2147483647 w 393"/>
                <a:gd name="T25" fmla="*/ 2147483647 h 360"/>
                <a:gd name="T26" fmla="*/ 2147483647 w 393"/>
                <a:gd name="T27" fmla="*/ 2147483647 h 360"/>
                <a:gd name="T28" fmla="*/ 2147483647 w 393"/>
                <a:gd name="T29" fmla="*/ 2147483647 h 360"/>
                <a:gd name="T30" fmla="*/ 2147483647 w 393"/>
                <a:gd name="T31" fmla="*/ 2147483647 h 360"/>
                <a:gd name="T32" fmla="*/ 2147483647 w 393"/>
                <a:gd name="T33" fmla="*/ 2147483647 h 360"/>
                <a:gd name="T34" fmla="*/ 2147483647 w 393"/>
                <a:gd name="T35" fmla="*/ 2147483647 h 360"/>
                <a:gd name="T36" fmla="*/ 2147483647 w 393"/>
                <a:gd name="T37" fmla="*/ 2147483647 h 360"/>
                <a:gd name="T38" fmla="*/ 2147483647 w 393"/>
                <a:gd name="T39" fmla="*/ 2147483647 h 360"/>
                <a:gd name="T40" fmla="*/ 2147483647 w 393"/>
                <a:gd name="T41" fmla="*/ 2147483647 h 360"/>
                <a:gd name="T42" fmla="*/ 2147483647 w 393"/>
                <a:gd name="T43" fmla="*/ 2147483647 h 360"/>
                <a:gd name="T44" fmla="*/ 2147483647 w 393"/>
                <a:gd name="T45" fmla="*/ 2147483647 h 360"/>
                <a:gd name="T46" fmla="*/ 2147483647 w 393"/>
                <a:gd name="T47" fmla="*/ 2147483647 h 360"/>
                <a:gd name="T48" fmla="*/ 2147483647 w 393"/>
                <a:gd name="T49" fmla="*/ 2147483647 h 360"/>
                <a:gd name="T50" fmla="*/ 2147483647 w 393"/>
                <a:gd name="T51" fmla="*/ 2147483647 h 360"/>
                <a:gd name="T52" fmla="*/ 2147483647 w 393"/>
                <a:gd name="T53" fmla="*/ 2147483647 h 360"/>
                <a:gd name="T54" fmla="*/ 2147483647 w 393"/>
                <a:gd name="T55" fmla="*/ 2147483647 h 360"/>
                <a:gd name="T56" fmla="*/ 2147483647 w 393"/>
                <a:gd name="T57" fmla="*/ 2147483647 h 360"/>
                <a:gd name="T58" fmla="*/ 2147483647 w 393"/>
                <a:gd name="T59" fmla="*/ 2147483647 h 360"/>
                <a:gd name="T60" fmla="*/ 2147483647 w 393"/>
                <a:gd name="T61" fmla="*/ 2147483647 h 360"/>
                <a:gd name="T62" fmla="*/ 2147483647 w 393"/>
                <a:gd name="T63" fmla="*/ 2147483647 h 360"/>
                <a:gd name="T64" fmla="*/ 2147483647 w 393"/>
                <a:gd name="T65" fmla="*/ 2147483647 h 360"/>
                <a:gd name="T66" fmla="*/ 2147483647 w 393"/>
                <a:gd name="T67" fmla="*/ 2147483647 h 360"/>
                <a:gd name="T68" fmla="*/ 2147483647 w 393"/>
                <a:gd name="T69" fmla="*/ 2147483647 h 360"/>
                <a:gd name="T70" fmla="*/ 2147483647 w 393"/>
                <a:gd name="T71" fmla="*/ 2147483647 h 360"/>
                <a:gd name="T72" fmla="*/ 2147483647 w 393"/>
                <a:gd name="T73" fmla="*/ 2147483647 h 360"/>
                <a:gd name="T74" fmla="*/ 2147483647 w 393"/>
                <a:gd name="T75" fmla="*/ 2147483647 h 360"/>
                <a:gd name="T76" fmla="*/ 2147483647 w 393"/>
                <a:gd name="T77" fmla="*/ 2147483647 h 360"/>
                <a:gd name="T78" fmla="*/ 2147483647 w 393"/>
                <a:gd name="T79" fmla="*/ 2147483647 h 360"/>
                <a:gd name="T80" fmla="*/ 2147483647 w 393"/>
                <a:gd name="T81" fmla="*/ 2147483647 h 360"/>
                <a:gd name="T82" fmla="*/ 2147483647 w 393"/>
                <a:gd name="T83" fmla="*/ 2147483647 h 360"/>
                <a:gd name="T84" fmla="*/ 2147483647 w 393"/>
                <a:gd name="T85" fmla="*/ 2147483647 h 360"/>
                <a:gd name="T86" fmla="*/ 2147483647 w 393"/>
                <a:gd name="T87" fmla="*/ 2147483647 h 360"/>
                <a:gd name="T88" fmla="*/ 2147483647 w 393"/>
                <a:gd name="T89" fmla="*/ 2147483647 h 360"/>
                <a:gd name="T90" fmla="*/ 2147483647 w 393"/>
                <a:gd name="T91" fmla="*/ 2147483647 h 360"/>
                <a:gd name="T92" fmla="*/ 2147483647 w 393"/>
                <a:gd name="T93" fmla="*/ 2147483647 h 360"/>
                <a:gd name="T94" fmla="*/ 2147483647 w 393"/>
                <a:gd name="T95" fmla="*/ 2147483647 h 360"/>
                <a:gd name="T96" fmla="*/ 2147483647 w 393"/>
                <a:gd name="T97" fmla="*/ 2147483647 h 360"/>
                <a:gd name="T98" fmla="*/ 2147483647 w 393"/>
                <a:gd name="T99" fmla="*/ 2147483647 h 360"/>
                <a:gd name="T100" fmla="*/ 2147483647 w 393"/>
                <a:gd name="T101" fmla="*/ 2147483647 h 360"/>
                <a:gd name="T102" fmla="*/ 2147483647 w 393"/>
                <a:gd name="T103" fmla="*/ 2147483647 h 360"/>
                <a:gd name="T104" fmla="*/ 2147483647 w 393"/>
                <a:gd name="T105" fmla="*/ 2147483647 h 360"/>
                <a:gd name="T106" fmla="*/ 2147483647 w 393"/>
                <a:gd name="T107" fmla="*/ 2147483647 h 360"/>
                <a:gd name="T108" fmla="*/ 2147483647 w 393"/>
                <a:gd name="T109" fmla="*/ 2147483647 h 360"/>
                <a:gd name="T110" fmla="*/ 2147483647 w 393"/>
                <a:gd name="T111" fmla="*/ 2147483647 h 360"/>
                <a:gd name="T112" fmla="*/ 2147483647 w 393"/>
                <a:gd name="T113" fmla="*/ 2147483647 h 360"/>
                <a:gd name="T114" fmla="*/ 0 w 393"/>
                <a:gd name="T115" fmla="*/ 2147483647 h 3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93"/>
                <a:gd name="T175" fmla="*/ 0 h 360"/>
                <a:gd name="T176" fmla="*/ 393 w 393"/>
                <a:gd name="T177" fmla="*/ 360 h 3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93" h="360">
                  <a:moveTo>
                    <a:pt x="0" y="109"/>
                  </a:moveTo>
                  <a:lnTo>
                    <a:pt x="9" y="119"/>
                  </a:lnTo>
                  <a:lnTo>
                    <a:pt x="37" y="113"/>
                  </a:lnTo>
                  <a:lnTo>
                    <a:pt x="49" y="116"/>
                  </a:lnTo>
                  <a:lnTo>
                    <a:pt x="60" y="107"/>
                  </a:lnTo>
                  <a:lnTo>
                    <a:pt x="65" y="95"/>
                  </a:lnTo>
                  <a:cubicBezTo>
                    <a:pt x="74" y="94"/>
                    <a:pt x="74" y="91"/>
                    <a:pt x="74" y="95"/>
                  </a:cubicBezTo>
                  <a:lnTo>
                    <a:pt x="86" y="113"/>
                  </a:lnTo>
                  <a:lnTo>
                    <a:pt x="100" y="116"/>
                  </a:lnTo>
                  <a:lnTo>
                    <a:pt x="108" y="126"/>
                  </a:lnTo>
                  <a:lnTo>
                    <a:pt x="118" y="120"/>
                  </a:lnTo>
                  <a:lnTo>
                    <a:pt x="117" y="102"/>
                  </a:lnTo>
                  <a:lnTo>
                    <a:pt x="122" y="91"/>
                  </a:lnTo>
                  <a:lnTo>
                    <a:pt x="135" y="83"/>
                  </a:lnTo>
                  <a:lnTo>
                    <a:pt x="146" y="72"/>
                  </a:lnTo>
                  <a:lnTo>
                    <a:pt x="147" y="57"/>
                  </a:lnTo>
                  <a:lnTo>
                    <a:pt x="140" y="40"/>
                  </a:lnTo>
                  <a:lnTo>
                    <a:pt x="161" y="32"/>
                  </a:lnTo>
                  <a:lnTo>
                    <a:pt x="171" y="21"/>
                  </a:lnTo>
                  <a:lnTo>
                    <a:pt x="181" y="23"/>
                  </a:lnTo>
                  <a:lnTo>
                    <a:pt x="175" y="8"/>
                  </a:lnTo>
                  <a:lnTo>
                    <a:pt x="184" y="0"/>
                  </a:lnTo>
                  <a:lnTo>
                    <a:pt x="197" y="11"/>
                  </a:lnTo>
                  <a:lnTo>
                    <a:pt x="215" y="16"/>
                  </a:lnTo>
                  <a:lnTo>
                    <a:pt x="234" y="38"/>
                  </a:lnTo>
                  <a:lnTo>
                    <a:pt x="250" y="42"/>
                  </a:lnTo>
                  <a:lnTo>
                    <a:pt x="264" y="63"/>
                  </a:lnTo>
                  <a:lnTo>
                    <a:pt x="285" y="73"/>
                  </a:lnTo>
                  <a:lnTo>
                    <a:pt x="309" y="76"/>
                  </a:lnTo>
                  <a:lnTo>
                    <a:pt x="330" y="68"/>
                  </a:lnTo>
                  <a:lnTo>
                    <a:pt x="350" y="60"/>
                  </a:lnTo>
                  <a:lnTo>
                    <a:pt x="356" y="76"/>
                  </a:lnTo>
                  <a:lnTo>
                    <a:pt x="361" y="88"/>
                  </a:lnTo>
                  <a:lnTo>
                    <a:pt x="367" y="112"/>
                  </a:lnTo>
                  <a:lnTo>
                    <a:pt x="382" y="113"/>
                  </a:lnTo>
                  <a:lnTo>
                    <a:pt x="393" y="116"/>
                  </a:lnTo>
                  <a:lnTo>
                    <a:pt x="378" y="123"/>
                  </a:lnTo>
                  <a:lnTo>
                    <a:pt x="376" y="136"/>
                  </a:lnTo>
                  <a:lnTo>
                    <a:pt x="376" y="144"/>
                  </a:lnTo>
                  <a:lnTo>
                    <a:pt x="367" y="151"/>
                  </a:lnTo>
                  <a:lnTo>
                    <a:pt x="355" y="149"/>
                  </a:lnTo>
                  <a:lnTo>
                    <a:pt x="353" y="136"/>
                  </a:lnTo>
                  <a:lnTo>
                    <a:pt x="340" y="133"/>
                  </a:lnTo>
                  <a:lnTo>
                    <a:pt x="331" y="129"/>
                  </a:lnTo>
                  <a:lnTo>
                    <a:pt x="318" y="132"/>
                  </a:lnTo>
                  <a:lnTo>
                    <a:pt x="310" y="132"/>
                  </a:lnTo>
                  <a:lnTo>
                    <a:pt x="299" y="131"/>
                  </a:lnTo>
                  <a:lnTo>
                    <a:pt x="290" y="137"/>
                  </a:lnTo>
                  <a:lnTo>
                    <a:pt x="278" y="128"/>
                  </a:lnTo>
                  <a:lnTo>
                    <a:pt x="241" y="125"/>
                  </a:lnTo>
                  <a:lnTo>
                    <a:pt x="233" y="116"/>
                  </a:lnTo>
                  <a:lnTo>
                    <a:pt x="221" y="123"/>
                  </a:lnTo>
                  <a:lnTo>
                    <a:pt x="200" y="121"/>
                  </a:lnTo>
                  <a:lnTo>
                    <a:pt x="186" y="141"/>
                  </a:lnTo>
                  <a:lnTo>
                    <a:pt x="170" y="121"/>
                  </a:lnTo>
                  <a:lnTo>
                    <a:pt x="155" y="121"/>
                  </a:lnTo>
                  <a:lnTo>
                    <a:pt x="149" y="142"/>
                  </a:lnTo>
                  <a:lnTo>
                    <a:pt x="153" y="162"/>
                  </a:lnTo>
                  <a:lnTo>
                    <a:pt x="169" y="175"/>
                  </a:lnTo>
                  <a:lnTo>
                    <a:pt x="177" y="188"/>
                  </a:lnTo>
                  <a:lnTo>
                    <a:pt x="176" y="211"/>
                  </a:lnTo>
                  <a:lnTo>
                    <a:pt x="194" y="230"/>
                  </a:lnTo>
                  <a:lnTo>
                    <a:pt x="207" y="240"/>
                  </a:lnTo>
                  <a:lnTo>
                    <a:pt x="248" y="289"/>
                  </a:lnTo>
                  <a:lnTo>
                    <a:pt x="257" y="310"/>
                  </a:lnTo>
                  <a:lnTo>
                    <a:pt x="278" y="331"/>
                  </a:lnTo>
                  <a:lnTo>
                    <a:pt x="278" y="343"/>
                  </a:lnTo>
                  <a:lnTo>
                    <a:pt x="278" y="351"/>
                  </a:lnTo>
                  <a:lnTo>
                    <a:pt x="276" y="360"/>
                  </a:lnTo>
                  <a:lnTo>
                    <a:pt x="270" y="351"/>
                  </a:lnTo>
                  <a:lnTo>
                    <a:pt x="264" y="352"/>
                  </a:lnTo>
                  <a:lnTo>
                    <a:pt x="257" y="343"/>
                  </a:lnTo>
                  <a:lnTo>
                    <a:pt x="247" y="350"/>
                  </a:lnTo>
                  <a:lnTo>
                    <a:pt x="216" y="351"/>
                  </a:lnTo>
                  <a:lnTo>
                    <a:pt x="222" y="344"/>
                  </a:lnTo>
                  <a:lnTo>
                    <a:pt x="243" y="344"/>
                  </a:lnTo>
                  <a:lnTo>
                    <a:pt x="252" y="336"/>
                  </a:lnTo>
                  <a:lnTo>
                    <a:pt x="246" y="320"/>
                  </a:lnTo>
                  <a:lnTo>
                    <a:pt x="239" y="312"/>
                  </a:lnTo>
                  <a:lnTo>
                    <a:pt x="233" y="306"/>
                  </a:lnTo>
                  <a:lnTo>
                    <a:pt x="229" y="313"/>
                  </a:lnTo>
                  <a:lnTo>
                    <a:pt x="218" y="319"/>
                  </a:lnTo>
                  <a:lnTo>
                    <a:pt x="205" y="317"/>
                  </a:lnTo>
                  <a:lnTo>
                    <a:pt x="199" y="315"/>
                  </a:lnTo>
                  <a:lnTo>
                    <a:pt x="195" y="307"/>
                  </a:lnTo>
                  <a:lnTo>
                    <a:pt x="201" y="297"/>
                  </a:lnTo>
                  <a:lnTo>
                    <a:pt x="166" y="295"/>
                  </a:lnTo>
                  <a:lnTo>
                    <a:pt x="169" y="282"/>
                  </a:lnTo>
                  <a:lnTo>
                    <a:pt x="160" y="284"/>
                  </a:lnTo>
                  <a:lnTo>
                    <a:pt x="159" y="271"/>
                  </a:lnTo>
                  <a:lnTo>
                    <a:pt x="150" y="272"/>
                  </a:lnTo>
                  <a:lnTo>
                    <a:pt x="147" y="263"/>
                  </a:lnTo>
                  <a:lnTo>
                    <a:pt x="137" y="259"/>
                  </a:lnTo>
                  <a:lnTo>
                    <a:pt x="126" y="253"/>
                  </a:lnTo>
                  <a:lnTo>
                    <a:pt x="119" y="244"/>
                  </a:lnTo>
                  <a:lnTo>
                    <a:pt x="112" y="233"/>
                  </a:lnTo>
                  <a:lnTo>
                    <a:pt x="111" y="224"/>
                  </a:lnTo>
                  <a:lnTo>
                    <a:pt x="115" y="217"/>
                  </a:lnTo>
                  <a:lnTo>
                    <a:pt x="127" y="215"/>
                  </a:lnTo>
                  <a:lnTo>
                    <a:pt x="134" y="218"/>
                  </a:lnTo>
                  <a:lnTo>
                    <a:pt x="112" y="208"/>
                  </a:lnTo>
                  <a:lnTo>
                    <a:pt x="100" y="192"/>
                  </a:lnTo>
                  <a:lnTo>
                    <a:pt x="96" y="178"/>
                  </a:lnTo>
                  <a:lnTo>
                    <a:pt x="91" y="160"/>
                  </a:lnTo>
                  <a:lnTo>
                    <a:pt x="91" y="146"/>
                  </a:lnTo>
                  <a:lnTo>
                    <a:pt x="78" y="136"/>
                  </a:lnTo>
                  <a:lnTo>
                    <a:pt x="60" y="121"/>
                  </a:lnTo>
                  <a:lnTo>
                    <a:pt x="51" y="140"/>
                  </a:lnTo>
                  <a:lnTo>
                    <a:pt x="46" y="153"/>
                  </a:lnTo>
                  <a:lnTo>
                    <a:pt x="38" y="165"/>
                  </a:lnTo>
                  <a:lnTo>
                    <a:pt x="29" y="171"/>
                  </a:lnTo>
                  <a:lnTo>
                    <a:pt x="21" y="161"/>
                  </a:lnTo>
                  <a:lnTo>
                    <a:pt x="11" y="143"/>
                  </a:lnTo>
                  <a:lnTo>
                    <a:pt x="7" y="132"/>
                  </a:lnTo>
                  <a:lnTo>
                    <a:pt x="2" y="119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26" name="Freeform 19"/>
            <p:cNvSpPr>
              <a:spLocks/>
            </p:cNvSpPr>
            <p:nvPr/>
          </p:nvSpPr>
          <p:spPr bwMode="auto">
            <a:xfrm>
              <a:off x="3031854" y="4168991"/>
              <a:ext cx="840007" cy="666467"/>
            </a:xfrm>
            <a:custGeom>
              <a:avLst/>
              <a:gdLst>
                <a:gd name="T0" fmla="*/ 2147483647 w 267"/>
                <a:gd name="T1" fmla="*/ 2147483647 h 260"/>
                <a:gd name="T2" fmla="*/ 2147483647 w 267"/>
                <a:gd name="T3" fmla="*/ 2147483647 h 260"/>
                <a:gd name="T4" fmla="*/ 2147483647 w 267"/>
                <a:gd name="T5" fmla="*/ 2147483647 h 260"/>
                <a:gd name="T6" fmla="*/ 2147483647 w 267"/>
                <a:gd name="T7" fmla="*/ 2147483647 h 260"/>
                <a:gd name="T8" fmla="*/ 2147483647 w 267"/>
                <a:gd name="T9" fmla="*/ 2147483647 h 260"/>
                <a:gd name="T10" fmla="*/ 2147483647 w 267"/>
                <a:gd name="T11" fmla="*/ 2147483647 h 260"/>
                <a:gd name="T12" fmla="*/ 2147483647 w 267"/>
                <a:gd name="T13" fmla="*/ 2147483647 h 260"/>
                <a:gd name="T14" fmla="*/ 2147483647 w 267"/>
                <a:gd name="T15" fmla="*/ 2147483647 h 260"/>
                <a:gd name="T16" fmla="*/ 2147483647 w 267"/>
                <a:gd name="T17" fmla="*/ 2147483647 h 260"/>
                <a:gd name="T18" fmla="*/ 2147483647 w 267"/>
                <a:gd name="T19" fmla="*/ 2147483647 h 260"/>
                <a:gd name="T20" fmla="*/ 2147483647 w 267"/>
                <a:gd name="T21" fmla="*/ 2147483647 h 260"/>
                <a:gd name="T22" fmla="*/ 2147483647 w 267"/>
                <a:gd name="T23" fmla="*/ 2147483647 h 260"/>
                <a:gd name="T24" fmla="*/ 2147483647 w 267"/>
                <a:gd name="T25" fmla="*/ 2147483647 h 260"/>
                <a:gd name="T26" fmla="*/ 2147483647 w 267"/>
                <a:gd name="T27" fmla="*/ 2147483647 h 260"/>
                <a:gd name="T28" fmla="*/ 2147483647 w 267"/>
                <a:gd name="T29" fmla="*/ 2147483647 h 260"/>
                <a:gd name="T30" fmla="*/ 2147483647 w 267"/>
                <a:gd name="T31" fmla="*/ 2147483647 h 260"/>
                <a:gd name="T32" fmla="*/ 2147483647 w 267"/>
                <a:gd name="T33" fmla="*/ 2147483647 h 260"/>
                <a:gd name="T34" fmla="*/ 2147483647 w 267"/>
                <a:gd name="T35" fmla="*/ 2147483647 h 260"/>
                <a:gd name="T36" fmla="*/ 2147483647 w 267"/>
                <a:gd name="T37" fmla="*/ 2147483647 h 260"/>
                <a:gd name="T38" fmla="*/ 2147483647 w 267"/>
                <a:gd name="T39" fmla="*/ 2147483647 h 260"/>
                <a:gd name="T40" fmla="*/ 2147483647 w 267"/>
                <a:gd name="T41" fmla="*/ 2147483647 h 260"/>
                <a:gd name="T42" fmla="*/ 0 w 267"/>
                <a:gd name="T43" fmla="*/ 2147483647 h 260"/>
                <a:gd name="T44" fmla="*/ 2147483647 w 267"/>
                <a:gd name="T45" fmla="*/ 2147483647 h 260"/>
                <a:gd name="T46" fmla="*/ 2147483647 w 267"/>
                <a:gd name="T47" fmla="*/ 2147483647 h 260"/>
                <a:gd name="T48" fmla="*/ 2147483647 w 267"/>
                <a:gd name="T49" fmla="*/ 2147483647 h 260"/>
                <a:gd name="T50" fmla="*/ 2147483647 w 267"/>
                <a:gd name="T51" fmla="*/ 2147483647 h 260"/>
                <a:gd name="T52" fmla="*/ 2147483647 w 267"/>
                <a:gd name="T53" fmla="*/ 2147483647 h 260"/>
                <a:gd name="T54" fmla="*/ 2147483647 w 267"/>
                <a:gd name="T55" fmla="*/ 2147483647 h 260"/>
                <a:gd name="T56" fmla="*/ 2147483647 w 267"/>
                <a:gd name="T57" fmla="*/ 2147483647 h 260"/>
                <a:gd name="T58" fmla="*/ 2147483647 w 267"/>
                <a:gd name="T59" fmla="*/ 2147483647 h 260"/>
                <a:gd name="T60" fmla="*/ 2147483647 w 267"/>
                <a:gd name="T61" fmla="*/ 2147483647 h 260"/>
                <a:gd name="T62" fmla="*/ 2147483647 w 267"/>
                <a:gd name="T63" fmla="*/ 2147483647 h 2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7"/>
                <a:gd name="T97" fmla="*/ 0 h 260"/>
                <a:gd name="T98" fmla="*/ 267 w 267"/>
                <a:gd name="T99" fmla="*/ 260 h 26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7" h="260">
                  <a:moveTo>
                    <a:pt x="232" y="31"/>
                  </a:moveTo>
                  <a:lnTo>
                    <a:pt x="249" y="37"/>
                  </a:lnTo>
                  <a:lnTo>
                    <a:pt x="243" y="51"/>
                  </a:lnTo>
                  <a:lnTo>
                    <a:pt x="230" y="69"/>
                  </a:lnTo>
                  <a:lnTo>
                    <a:pt x="227" y="78"/>
                  </a:lnTo>
                  <a:lnTo>
                    <a:pt x="232" y="91"/>
                  </a:lnTo>
                  <a:lnTo>
                    <a:pt x="246" y="93"/>
                  </a:lnTo>
                  <a:lnTo>
                    <a:pt x="256" y="102"/>
                  </a:lnTo>
                  <a:lnTo>
                    <a:pt x="267" y="111"/>
                  </a:lnTo>
                  <a:lnTo>
                    <a:pt x="267" y="118"/>
                  </a:lnTo>
                  <a:lnTo>
                    <a:pt x="246" y="123"/>
                  </a:lnTo>
                  <a:lnTo>
                    <a:pt x="266" y="146"/>
                  </a:lnTo>
                  <a:lnTo>
                    <a:pt x="251" y="158"/>
                  </a:lnTo>
                  <a:lnTo>
                    <a:pt x="241" y="167"/>
                  </a:lnTo>
                  <a:lnTo>
                    <a:pt x="222" y="166"/>
                  </a:lnTo>
                  <a:lnTo>
                    <a:pt x="233" y="182"/>
                  </a:lnTo>
                  <a:lnTo>
                    <a:pt x="231" y="192"/>
                  </a:lnTo>
                  <a:lnTo>
                    <a:pt x="223" y="184"/>
                  </a:lnTo>
                  <a:lnTo>
                    <a:pt x="212" y="184"/>
                  </a:lnTo>
                  <a:lnTo>
                    <a:pt x="205" y="194"/>
                  </a:lnTo>
                  <a:lnTo>
                    <a:pt x="205" y="213"/>
                  </a:lnTo>
                  <a:lnTo>
                    <a:pt x="194" y="218"/>
                  </a:lnTo>
                  <a:lnTo>
                    <a:pt x="192" y="233"/>
                  </a:lnTo>
                  <a:lnTo>
                    <a:pt x="194" y="244"/>
                  </a:lnTo>
                  <a:lnTo>
                    <a:pt x="198" y="254"/>
                  </a:lnTo>
                  <a:lnTo>
                    <a:pt x="194" y="260"/>
                  </a:lnTo>
                  <a:lnTo>
                    <a:pt x="164" y="241"/>
                  </a:lnTo>
                  <a:lnTo>
                    <a:pt x="149" y="234"/>
                  </a:lnTo>
                  <a:lnTo>
                    <a:pt x="139" y="225"/>
                  </a:lnTo>
                  <a:lnTo>
                    <a:pt x="128" y="227"/>
                  </a:lnTo>
                  <a:lnTo>
                    <a:pt x="128" y="213"/>
                  </a:lnTo>
                  <a:lnTo>
                    <a:pt x="112" y="198"/>
                  </a:lnTo>
                  <a:lnTo>
                    <a:pt x="102" y="189"/>
                  </a:lnTo>
                  <a:lnTo>
                    <a:pt x="99" y="173"/>
                  </a:lnTo>
                  <a:lnTo>
                    <a:pt x="89" y="165"/>
                  </a:lnTo>
                  <a:lnTo>
                    <a:pt x="68" y="142"/>
                  </a:lnTo>
                  <a:lnTo>
                    <a:pt x="50" y="119"/>
                  </a:lnTo>
                  <a:lnTo>
                    <a:pt x="40" y="112"/>
                  </a:lnTo>
                  <a:lnTo>
                    <a:pt x="32" y="102"/>
                  </a:lnTo>
                  <a:lnTo>
                    <a:pt x="25" y="94"/>
                  </a:lnTo>
                  <a:lnTo>
                    <a:pt x="26" y="73"/>
                  </a:lnTo>
                  <a:lnTo>
                    <a:pt x="17" y="56"/>
                  </a:lnTo>
                  <a:lnTo>
                    <a:pt x="5" y="48"/>
                  </a:lnTo>
                  <a:lnTo>
                    <a:pt x="0" y="37"/>
                  </a:lnTo>
                  <a:lnTo>
                    <a:pt x="2" y="18"/>
                  </a:lnTo>
                  <a:lnTo>
                    <a:pt x="6" y="6"/>
                  </a:lnTo>
                  <a:lnTo>
                    <a:pt x="23" y="7"/>
                  </a:lnTo>
                  <a:lnTo>
                    <a:pt x="39" y="27"/>
                  </a:lnTo>
                  <a:lnTo>
                    <a:pt x="52" y="6"/>
                  </a:lnTo>
                  <a:lnTo>
                    <a:pt x="75" y="8"/>
                  </a:lnTo>
                  <a:lnTo>
                    <a:pt x="84" y="0"/>
                  </a:lnTo>
                  <a:lnTo>
                    <a:pt x="94" y="11"/>
                  </a:lnTo>
                  <a:lnTo>
                    <a:pt x="103" y="14"/>
                  </a:lnTo>
                  <a:lnTo>
                    <a:pt x="135" y="13"/>
                  </a:lnTo>
                  <a:lnTo>
                    <a:pt x="144" y="23"/>
                  </a:lnTo>
                  <a:lnTo>
                    <a:pt x="154" y="15"/>
                  </a:lnTo>
                  <a:lnTo>
                    <a:pt x="164" y="18"/>
                  </a:lnTo>
                  <a:lnTo>
                    <a:pt x="180" y="14"/>
                  </a:lnTo>
                  <a:lnTo>
                    <a:pt x="188" y="23"/>
                  </a:lnTo>
                  <a:lnTo>
                    <a:pt x="196" y="17"/>
                  </a:lnTo>
                  <a:lnTo>
                    <a:pt x="207" y="21"/>
                  </a:lnTo>
                  <a:lnTo>
                    <a:pt x="204" y="34"/>
                  </a:lnTo>
                  <a:lnTo>
                    <a:pt x="211" y="37"/>
                  </a:lnTo>
                  <a:lnTo>
                    <a:pt x="232" y="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7" name="Freeform 20"/>
            <p:cNvSpPr>
              <a:spLocks/>
            </p:cNvSpPr>
            <p:nvPr/>
          </p:nvSpPr>
          <p:spPr bwMode="auto">
            <a:xfrm>
              <a:off x="3650244" y="3951236"/>
              <a:ext cx="925796" cy="996403"/>
            </a:xfrm>
            <a:custGeom>
              <a:avLst/>
              <a:gdLst>
                <a:gd name="T0" fmla="*/ 2147483647 w 297"/>
                <a:gd name="T1" fmla="*/ 2147483647 h 389"/>
                <a:gd name="T2" fmla="*/ 2147483647 w 297"/>
                <a:gd name="T3" fmla="*/ 2147483647 h 389"/>
                <a:gd name="T4" fmla="*/ 2147483647 w 297"/>
                <a:gd name="T5" fmla="*/ 0 h 389"/>
                <a:gd name="T6" fmla="*/ 2147483647 w 297"/>
                <a:gd name="T7" fmla="*/ 2147483647 h 389"/>
                <a:gd name="T8" fmla="*/ 2147483647 w 297"/>
                <a:gd name="T9" fmla="*/ 2147483647 h 389"/>
                <a:gd name="T10" fmla="*/ 2147483647 w 297"/>
                <a:gd name="T11" fmla="*/ 2147483647 h 389"/>
                <a:gd name="T12" fmla="*/ 2147483647 w 297"/>
                <a:gd name="T13" fmla="*/ 2147483647 h 389"/>
                <a:gd name="T14" fmla="*/ 2147483647 w 297"/>
                <a:gd name="T15" fmla="*/ 2147483647 h 389"/>
                <a:gd name="T16" fmla="*/ 2147483647 w 297"/>
                <a:gd name="T17" fmla="*/ 2147483647 h 389"/>
                <a:gd name="T18" fmla="*/ 2147483647 w 297"/>
                <a:gd name="T19" fmla="*/ 2147483647 h 389"/>
                <a:gd name="T20" fmla="*/ 2147483647 w 297"/>
                <a:gd name="T21" fmla="*/ 2147483647 h 389"/>
                <a:gd name="T22" fmla="*/ 2147483647 w 297"/>
                <a:gd name="T23" fmla="*/ 2147483647 h 389"/>
                <a:gd name="T24" fmla="*/ 2147483647 w 297"/>
                <a:gd name="T25" fmla="*/ 2147483647 h 389"/>
                <a:gd name="T26" fmla="*/ 2147483647 w 297"/>
                <a:gd name="T27" fmla="*/ 2147483647 h 389"/>
                <a:gd name="T28" fmla="*/ 2147483647 w 297"/>
                <a:gd name="T29" fmla="*/ 2147483647 h 389"/>
                <a:gd name="T30" fmla="*/ 2147483647 w 297"/>
                <a:gd name="T31" fmla="*/ 2147483647 h 389"/>
                <a:gd name="T32" fmla="*/ 2147483647 w 297"/>
                <a:gd name="T33" fmla="*/ 2147483647 h 389"/>
                <a:gd name="T34" fmla="*/ 2147483647 w 297"/>
                <a:gd name="T35" fmla="*/ 2147483647 h 389"/>
                <a:gd name="T36" fmla="*/ 2147483647 w 297"/>
                <a:gd name="T37" fmla="*/ 2147483647 h 389"/>
                <a:gd name="T38" fmla="*/ 2147483647 w 297"/>
                <a:gd name="T39" fmla="*/ 2147483647 h 389"/>
                <a:gd name="T40" fmla="*/ 2147483647 w 297"/>
                <a:gd name="T41" fmla="*/ 2147483647 h 389"/>
                <a:gd name="T42" fmla="*/ 2147483647 w 297"/>
                <a:gd name="T43" fmla="*/ 2147483647 h 389"/>
                <a:gd name="T44" fmla="*/ 2147483647 w 297"/>
                <a:gd name="T45" fmla="*/ 2147483647 h 389"/>
                <a:gd name="T46" fmla="*/ 2147483647 w 297"/>
                <a:gd name="T47" fmla="*/ 2147483647 h 389"/>
                <a:gd name="T48" fmla="*/ 2147483647 w 297"/>
                <a:gd name="T49" fmla="*/ 2147483647 h 389"/>
                <a:gd name="T50" fmla="*/ 2147483647 w 297"/>
                <a:gd name="T51" fmla="*/ 2147483647 h 389"/>
                <a:gd name="T52" fmla="*/ 2147483647 w 297"/>
                <a:gd name="T53" fmla="*/ 2147483647 h 389"/>
                <a:gd name="T54" fmla="*/ 2147483647 w 297"/>
                <a:gd name="T55" fmla="*/ 2147483647 h 389"/>
                <a:gd name="T56" fmla="*/ 2147483647 w 297"/>
                <a:gd name="T57" fmla="*/ 2147483647 h 389"/>
                <a:gd name="T58" fmla="*/ 2147483647 w 297"/>
                <a:gd name="T59" fmla="*/ 2147483647 h 389"/>
                <a:gd name="T60" fmla="*/ 2147483647 w 297"/>
                <a:gd name="T61" fmla="*/ 2147483647 h 389"/>
                <a:gd name="T62" fmla="*/ 2147483647 w 297"/>
                <a:gd name="T63" fmla="*/ 2147483647 h 389"/>
                <a:gd name="T64" fmla="*/ 2147483647 w 297"/>
                <a:gd name="T65" fmla="*/ 2147483647 h 389"/>
                <a:gd name="T66" fmla="*/ 2147483647 w 297"/>
                <a:gd name="T67" fmla="*/ 2147483647 h 389"/>
                <a:gd name="T68" fmla="*/ 2147483647 w 297"/>
                <a:gd name="T69" fmla="*/ 2147483647 h 389"/>
                <a:gd name="T70" fmla="*/ 2147483647 w 297"/>
                <a:gd name="T71" fmla="*/ 2147483647 h 389"/>
                <a:gd name="T72" fmla="*/ 2147483647 w 297"/>
                <a:gd name="T73" fmla="*/ 2147483647 h 389"/>
                <a:gd name="T74" fmla="*/ 2147483647 w 297"/>
                <a:gd name="T75" fmla="*/ 2147483647 h 389"/>
                <a:gd name="T76" fmla="*/ 2147483647 w 297"/>
                <a:gd name="T77" fmla="*/ 2147483647 h 389"/>
                <a:gd name="T78" fmla="*/ 2147483647 w 297"/>
                <a:gd name="T79" fmla="*/ 2147483647 h 389"/>
                <a:gd name="T80" fmla="*/ 2147483647 w 297"/>
                <a:gd name="T81" fmla="*/ 2147483647 h 389"/>
                <a:gd name="T82" fmla="*/ 2147483647 w 297"/>
                <a:gd name="T83" fmla="*/ 2147483647 h 389"/>
                <a:gd name="T84" fmla="*/ 2147483647 w 297"/>
                <a:gd name="T85" fmla="*/ 2147483647 h 389"/>
                <a:gd name="T86" fmla="*/ 2147483647 w 297"/>
                <a:gd name="T87" fmla="*/ 2147483647 h 389"/>
                <a:gd name="T88" fmla="*/ 0 w 297"/>
                <a:gd name="T89" fmla="*/ 2147483647 h 38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7"/>
                <a:gd name="T136" fmla="*/ 0 h 389"/>
                <a:gd name="T137" fmla="*/ 297 w 297"/>
                <a:gd name="T138" fmla="*/ 389 h 38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7" h="389">
                  <a:moveTo>
                    <a:pt x="0" y="26"/>
                  </a:moveTo>
                  <a:lnTo>
                    <a:pt x="7" y="29"/>
                  </a:lnTo>
                  <a:lnTo>
                    <a:pt x="17" y="19"/>
                  </a:lnTo>
                  <a:lnTo>
                    <a:pt x="32" y="23"/>
                  </a:lnTo>
                  <a:lnTo>
                    <a:pt x="42" y="17"/>
                  </a:lnTo>
                  <a:lnTo>
                    <a:pt x="59" y="0"/>
                  </a:lnTo>
                  <a:lnTo>
                    <a:pt x="78" y="0"/>
                  </a:lnTo>
                  <a:lnTo>
                    <a:pt x="88" y="6"/>
                  </a:lnTo>
                  <a:lnTo>
                    <a:pt x="99" y="12"/>
                  </a:lnTo>
                  <a:lnTo>
                    <a:pt x="107" y="17"/>
                  </a:lnTo>
                  <a:lnTo>
                    <a:pt x="121" y="17"/>
                  </a:lnTo>
                  <a:lnTo>
                    <a:pt x="139" y="39"/>
                  </a:lnTo>
                  <a:lnTo>
                    <a:pt x="147" y="60"/>
                  </a:lnTo>
                  <a:lnTo>
                    <a:pt x="156" y="78"/>
                  </a:lnTo>
                  <a:lnTo>
                    <a:pt x="164" y="84"/>
                  </a:lnTo>
                  <a:lnTo>
                    <a:pt x="182" y="88"/>
                  </a:lnTo>
                  <a:lnTo>
                    <a:pt x="187" y="99"/>
                  </a:lnTo>
                  <a:lnTo>
                    <a:pt x="195" y="124"/>
                  </a:lnTo>
                  <a:lnTo>
                    <a:pt x="219" y="136"/>
                  </a:lnTo>
                  <a:lnTo>
                    <a:pt x="235" y="136"/>
                  </a:lnTo>
                  <a:lnTo>
                    <a:pt x="243" y="142"/>
                  </a:lnTo>
                  <a:lnTo>
                    <a:pt x="250" y="138"/>
                  </a:lnTo>
                  <a:lnTo>
                    <a:pt x="260" y="130"/>
                  </a:lnTo>
                  <a:lnTo>
                    <a:pt x="269" y="140"/>
                  </a:lnTo>
                  <a:lnTo>
                    <a:pt x="263" y="150"/>
                  </a:lnTo>
                  <a:lnTo>
                    <a:pt x="256" y="156"/>
                  </a:lnTo>
                  <a:lnTo>
                    <a:pt x="262" y="168"/>
                  </a:lnTo>
                  <a:lnTo>
                    <a:pt x="267" y="175"/>
                  </a:lnTo>
                  <a:lnTo>
                    <a:pt x="266" y="186"/>
                  </a:lnTo>
                  <a:lnTo>
                    <a:pt x="260" y="192"/>
                  </a:lnTo>
                  <a:lnTo>
                    <a:pt x="260" y="236"/>
                  </a:lnTo>
                  <a:lnTo>
                    <a:pt x="281" y="266"/>
                  </a:lnTo>
                  <a:lnTo>
                    <a:pt x="297" y="281"/>
                  </a:lnTo>
                  <a:lnTo>
                    <a:pt x="279" y="311"/>
                  </a:lnTo>
                  <a:lnTo>
                    <a:pt x="271" y="327"/>
                  </a:lnTo>
                  <a:lnTo>
                    <a:pt x="271" y="358"/>
                  </a:lnTo>
                  <a:lnTo>
                    <a:pt x="256" y="358"/>
                  </a:lnTo>
                  <a:lnTo>
                    <a:pt x="246" y="359"/>
                  </a:lnTo>
                  <a:lnTo>
                    <a:pt x="236" y="359"/>
                  </a:lnTo>
                  <a:lnTo>
                    <a:pt x="226" y="364"/>
                  </a:lnTo>
                  <a:lnTo>
                    <a:pt x="206" y="363"/>
                  </a:lnTo>
                  <a:lnTo>
                    <a:pt x="198" y="369"/>
                  </a:lnTo>
                  <a:lnTo>
                    <a:pt x="187" y="366"/>
                  </a:lnTo>
                  <a:lnTo>
                    <a:pt x="172" y="368"/>
                  </a:lnTo>
                  <a:lnTo>
                    <a:pt x="166" y="377"/>
                  </a:lnTo>
                  <a:lnTo>
                    <a:pt x="165" y="388"/>
                  </a:lnTo>
                  <a:lnTo>
                    <a:pt x="151" y="389"/>
                  </a:lnTo>
                  <a:lnTo>
                    <a:pt x="146" y="379"/>
                  </a:lnTo>
                  <a:lnTo>
                    <a:pt x="139" y="373"/>
                  </a:lnTo>
                  <a:lnTo>
                    <a:pt x="124" y="364"/>
                  </a:lnTo>
                  <a:lnTo>
                    <a:pt x="115" y="359"/>
                  </a:lnTo>
                  <a:lnTo>
                    <a:pt x="114" y="347"/>
                  </a:lnTo>
                  <a:lnTo>
                    <a:pt x="113" y="334"/>
                  </a:lnTo>
                  <a:lnTo>
                    <a:pt x="104" y="326"/>
                  </a:lnTo>
                  <a:lnTo>
                    <a:pt x="127" y="324"/>
                  </a:lnTo>
                  <a:lnTo>
                    <a:pt x="120" y="310"/>
                  </a:lnTo>
                  <a:lnTo>
                    <a:pt x="103" y="303"/>
                  </a:lnTo>
                  <a:lnTo>
                    <a:pt x="102" y="289"/>
                  </a:lnTo>
                  <a:lnTo>
                    <a:pt x="92" y="278"/>
                  </a:lnTo>
                  <a:lnTo>
                    <a:pt x="81" y="272"/>
                  </a:lnTo>
                  <a:lnTo>
                    <a:pt x="70" y="266"/>
                  </a:lnTo>
                  <a:lnTo>
                    <a:pt x="57" y="261"/>
                  </a:lnTo>
                  <a:lnTo>
                    <a:pt x="52" y="246"/>
                  </a:lnTo>
                  <a:lnTo>
                    <a:pt x="60" y="240"/>
                  </a:lnTo>
                  <a:lnTo>
                    <a:pt x="68" y="231"/>
                  </a:lnTo>
                  <a:lnTo>
                    <a:pt x="51" y="209"/>
                  </a:lnTo>
                  <a:lnTo>
                    <a:pt x="61" y="206"/>
                  </a:lnTo>
                  <a:lnTo>
                    <a:pt x="70" y="203"/>
                  </a:lnTo>
                  <a:lnTo>
                    <a:pt x="68" y="194"/>
                  </a:lnTo>
                  <a:lnTo>
                    <a:pt x="56" y="186"/>
                  </a:lnTo>
                  <a:lnTo>
                    <a:pt x="50" y="178"/>
                  </a:lnTo>
                  <a:lnTo>
                    <a:pt x="35" y="175"/>
                  </a:lnTo>
                  <a:lnTo>
                    <a:pt x="30" y="162"/>
                  </a:lnTo>
                  <a:lnTo>
                    <a:pt x="38" y="145"/>
                  </a:lnTo>
                  <a:lnTo>
                    <a:pt x="48" y="133"/>
                  </a:lnTo>
                  <a:lnTo>
                    <a:pt x="51" y="122"/>
                  </a:lnTo>
                  <a:lnTo>
                    <a:pt x="39" y="117"/>
                  </a:lnTo>
                  <a:lnTo>
                    <a:pt x="31" y="116"/>
                  </a:lnTo>
                  <a:lnTo>
                    <a:pt x="28" y="106"/>
                  </a:lnTo>
                  <a:lnTo>
                    <a:pt x="31" y="94"/>
                  </a:lnTo>
                  <a:lnTo>
                    <a:pt x="40" y="91"/>
                  </a:lnTo>
                  <a:lnTo>
                    <a:pt x="49" y="86"/>
                  </a:lnTo>
                  <a:lnTo>
                    <a:pt x="40" y="82"/>
                  </a:lnTo>
                  <a:lnTo>
                    <a:pt x="25" y="81"/>
                  </a:lnTo>
                  <a:lnTo>
                    <a:pt x="18" y="80"/>
                  </a:lnTo>
                  <a:lnTo>
                    <a:pt x="17" y="67"/>
                  </a:lnTo>
                  <a:lnTo>
                    <a:pt x="16" y="60"/>
                  </a:lnTo>
                  <a:lnTo>
                    <a:pt x="10" y="55"/>
                  </a:lnTo>
                  <a:lnTo>
                    <a:pt x="8" y="37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8" name="Freeform 25" descr="Light upward diagonal"/>
            <p:cNvSpPr>
              <a:spLocks/>
            </p:cNvSpPr>
            <p:nvPr/>
          </p:nvSpPr>
          <p:spPr bwMode="auto">
            <a:xfrm>
              <a:off x="3246327" y="3149494"/>
              <a:ext cx="1068775" cy="455310"/>
            </a:xfrm>
            <a:custGeom>
              <a:avLst/>
              <a:gdLst>
                <a:gd name="T0" fmla="*/ 2147483647 w 342"/>
                <a:gd name="T1" fmla="*/ 2147483647 h 178"/>
                <a:gd name="T2" fmla="*/ 2147483647 w 342"/>
                <a:gd name="T3" fmla="*/ 2147483647 h 178"/>
                <a:gd name="T4" fmla="*/ 2147483647 w 342"/>
                <a:gd name="T5" fmla="*/ 2147483647 h 178"/>
                <a:gd name="T6" fmla="*/ 2147483647 w 342"/>
                <a:gd name="T7" fmla="*/ 2147483647 h 178"/>
                <a:gd name="T8" fmla="*/ 2147483647 w 342"/>
                <a:gd name="T9" fmla="*/ 2147483647 h 178"/>
                <a:gd name="T10" fmla="*/ 2147483647 w 342"/>
                <a:gd name="T11" fmla="*/ 2147483647 h 178"/>
                <a:gd name="T12" fmla="*/ 2147483647 w 342"/>
                <a:gd name="T13" fmla="*/ 2147483647 h 178"/>
                <a:gd name="T14" fmla="*/ 2147483647 w 342"/>
                <a:gd name="T15" fmla="*/ 2147483647 h 178"/>
                <a:gd name="T16" fmla="*/ 2147483647 w 342"/>
                <a:gd name="T17" fmla="*/ 2147483647 h 178"/>
                <a:gd name="T18" fmla="*/ 2147483647 w 342"/>
                <a:gd name="T19" fmla="*/ 2147483647 h 178"/>
                <a:gd name="T20" fmla="*/ 2147483647 w 342"/>
                <a:gd name="T21" fmla="*/ 2147483647 h 178"/>
                <a:gd name="T22" fmla="*/ 2147483647 w 342"/>
                <a:gd name="T23" fmla="*/ 2147483647 h 178"/>
                <a:gd name="T24" fmla="*/ 2147483647 w 342"/>
                <a:gd name="T25" fmla="*/ 2147483647 h 178"/>
                <a:gd name="T26" fmla="*/ 2147483647 w 342"/>
                <a:gd name="T27" fmla="*/ 2147483647 h 178"/>
                <a:gd name="T28" fmla="*/ 2147483647 w 342"/>
                <a:gd name="T29" fmla="*/ 2147483647 h 178"/>
                <a:gd name="T30" fmla="*/ 2147483647 w 342"/>
                <a:gd name="T31" fmla="*/ 2147483647 h 178"/>
                <a:gd name="T32" fmla="*/ 2147483647 w 342"/>
                <a:gd name="T33" fmla="*/ 2147483647 h 178"/>
                <a:gd name="T34" fmla="*/ 2147483647 w 342"/>
                <a:gd name="T35" fmla="*/ 2147483647 h 178"/>
                <a:gd name="T36" fmla="*/ 2147483647 w 342"/>
                <a:gd name="T37" fmla="*/ 2147483647 h 178"/>
                <a:gd name="T38" fmla="*/ 2147483647 w 342"/>
                <a:gd name="T39" fmla="*/ 2147483647 h 178"/>
                <a:gd name="T40" fmla="*/ 2147483647 w 342"/>
                <a:gd name="T41" fmla="*/ 2147483647 h 178"/>
                <a:gd name="T42" fmla="*/ 2147483647 w 342"/>
                <a:gd name="T43" fmla="*/ 2147483647 h 178"/>
                <a:gd name="T44" fmla="*/ 2147483647 w 342"/>
                <a:gd name="T45" fmla="*/ 2147483647 h 178"/>
                <a:gd name="T46" fmla="*/ 2147483647 w 342"/>
                <a:gd name="T47" fmla="*/ 0 h 178"/>
                <a:gd name="T48" fmla="*/ 2147483647 w 342"/>
                <a:gd name="T49" fmla="*/ 2147483647 h 178"/>
                <a:gd name="T50" fmla="*/ 2147483647 w 342"/>
                <a:gd name="T51" fmla="*/ 2147483647 h 178"/>
                <a:gd name="T52" fmla="*/ 2147483647 w 342"/>
                <a:gd name="T53" fmla="*/ 2147483647 h 178"/>
                <a:gd name="T54" fmla="*/ 2147483647 w 342"/>
                <a:gd name="T55" fmla="*/ 2147483647 h 178"/>
                <a:gd name="T56" fmla="*/ 2147483647 w 342"/>
                <a:gd name="T57" fmla="*/ 2147483647 h 178"/>
                <a:gd name="T58" fmla="*/ 2147483647 w 342"/>
                <a:gd name="T59" fmla="*/ 2147483647 h 178"/>
                <a:gd name="T60" fmla="*/ 2147483647 w 342"/>
                <a:gd name="T61" fmla="*/ 2147483647 h 178"/>
                <a:gd name="T62" fmla="*/ 2147483647 w 342"/>
                <a:gd name="T63" fmla="*/ 2147483647 h 178"/>
                <a:gd name="T64" fmla="*/ 2147483647 w 342"/>
                <a:gd name="T65" fmla="*/ 2147483647 h 178"/>
                <a:gd name="T66" fmla="*/ 2147483647 w 342"/>
                <a:gd name="T67" fmla="*/ 2147483647 h 178"/>
                <a:gd name="T68" fmla="*/ 2147483647 w 342"/>
                <a:gd name="T69" fmla="*/ 2147483647 h 178"/>
                <a:gd name="T70" fmla="*/ 2147483647 w 342"/>
                <a:gd name="T71" fmla="*/ 2147483647 h 178"/>
                <a:gd name="T72" fmla="*/ 2147483647 w 342"/>
                <a:gd name="T73" fmla="*/ 2147483647 h 178"/>
                <a:gd name="T74" fmla="*/ 2147483647 w 342"/>
                <a:gd name="T75" fmla="*/ 2147483647 h 178"/>
                <a:gd name="T76" fmla="*/ 2147483647 w 342"/>
                <a:gd name="T77" fmla="*/ 2147483647 h 178"/>
                <a:gd name="T78" fmla="*/ 2147483647 w 342"/>
                <a:gd name="T79" fmla="*/ 2147483647 h 178"/>
                <a:gd name="T80" fmla="*/ 2147483647 w 342"/>
                <a:gd name="T81" fmla="*/ 2147483647 h 178"/>
                <a:gd name="T82" fmla="*/ 2147483647 w 342"/>
                <a:gd name="T83" fmla="*/ 2147483647 h 178"/>
                <a:gd name="T84" fmla="*/ 2147483647 w 342"/>
                <a:gd name="T85" fmla="*/ 2147483647 h 178"/>
                <a:gd name="T86" fmla="*/ 2147483647 w 342"/>
                <a:gd name="T87" fmla="*/ 2147483647 h 178"/>
                <a:gd name="T88" fmla="*/ 2147483647 w 342"/>
                <a:gd name="T89" fmla="*/ 2147483647 h 178"/>
                <a:gd name="T90" fmla="*/ 2147483647 w 342"/>
                <a:gd name="T91" fmla="*/ 2147483647 h 178"/>
                <a:gd name="T92" fmla="*/ 2147483647 w 342"/>
                <a:gd name="T93" fmla="*/ 2147483647 h 178"/>
                <a:gd name="T94" fmla="*/ 2147483647 w 342"/>
                <a:gd name="T95" fmla="*/ 2147483647 h 178"/>
                <a:gd name="T96" fmla="*/ 2147483647 w 342"/>
                <a:gd name="T97" fmla="*/ 2147483647 h 178"/>
                <a:gd name="T98" fmla="*/ 2147483647 w 342"/>
                <a:gd name="T99" fmla="*/ 2147483647 h 178"/>
                <a:gd name="T100" fmla="*/ 2147483647 w 342"/>
                <a:gd name="T101" fmla="*/ 2147483647 h 178"/>
                <a:gd name="T102" fmla="*/ 2147483647 w 342"/>
                <a:gd name="T103" fmla="*/ 2147483647 h 178"/>
                <a:gd name="T104" fmla="*/ 2147483647 w 342"/>
                <a:gd name="T105" fmla="*/ 2147483647 h 178"/>
                <a:gd name="T106" fmla="*/ 0 w 342"/>
                <a:gd name="T107" fmla="*/ 2147483647 h 178"/>
                <a:gd name="T108" fmla="*/ 2147483647 w 342"/>
                <a:gd name="T109" fmla="*/ 2147483647 h 17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42"/>
                <a:gd name="T166" fmla="*/ 0 h 178"/>
                <a:gd name="T167" fmla="*/ 342 w 342"/>
                <a:gd name="T168" fmla="*/ 178 h 17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42" h="178">
                  <a:moveTo>
                    <a:pt x="2" y="93"/>
                  </a:moveTo>
                  <a:lnTo>
                    <a:pt x="10" y="85"/>
                  </a:lnTo>
                  <a:lnTo>
                    <a:pt x="22" y="82"/>
                  </a:lnTo>
                  <a:lnTo>
                    <a:pt x="37" y="86"/>
                  </a:lnTo>
                  <a:lnTo>
                    <a:pt x="50" y="85"/>
                  </a:lnTo>
                  <a:lnTo>
                    <a:pt x="59" y="70"/>
                  </a:lnTo>
                  <a:lnTo>
                    <a:pt x="74" y="58"/>
                  </a:lnTo>
                  <a:lnTo>
                    <a:pt x="79" y="53"/>
                  </a:lnTo>
                  <a:lnTo>
                    <a:pt x="75" y="40"/>
                  </a:lnTo>
                  <a:lnTo>
                    <a:pt x="77" y="32"/>
                  </a:lnTo>
                  <a:lnTo>
                    <a:pt x="86" y="32"/>
                  </a:lnTo>
                  <a:lnTo>
                    <a:pt x="95" y="17"/>
                  </a:lnTo>
                  <a:lnTo>
                    <a:pt x="102" y="10"/>
                  </a:lnTo>
                  <a:lnTo>
                    <a:pt x="113" y="12"/>
                  </a:lnTo>
                  <a:lnTo>
                    <a:pt x="115" y="6"/>
                  </a:lnTo>
                  <a:lnTo>
                    <a:pt x="148" y="4"/>
                  </a:lnTo>
                  <a:lnTo>
                    <a:pt x="163" y="11"/>
                  </a:lnTo>
                  <a:lnTo>
                    <a:pt x="188" y="38"/>
                  </a:lnTo>
                  <a:lnTo>
                    <a:pt x="194" y="28"/>
                  </a:lnTo>
                  <a:lnTo>
                    <a:pt x="200" y="18"/>
                  </a:lnTo>
                  <a:lnTo>
                    <a:pt x="222" y="12"/>
                  </a:lnTo>
                  <a:lnTo>
                    <a:pt x="245" y="18"/>
                  </a:lnTo>
                  <a:lnTo>
                    <a:pt x="255" y="8"/>
                  </a:lnTo>
                  <a:lnTo>
                    <a:pt x="286" y="0"/>
                  </a:lnTo>
                  <a:lnTo>
                    <a:pt x="342" y="28"/>
                  </a:lnTo>
                  <a:lnTo>
                    <a:pt x="342" y="43"/>
                  </a:lnTo>
                  <a:lnTo>
                    <a:pt x="337" y="54"/>
                  </a:lnTo>
                  <a:lnTo>
                    <a:pt x="333" y="73"/>
                  </a:lnTo>
                  <a:lnTo>
                    <a:pt x="330" y="94"/>
                  </a:lnTo>
                  <a:lnTo>
                    <a:pt x="316" y="102"/>
                  </a:lnTo>
                  <a:lnTo>
                    <a:pt x="299" y="95"/>
                  </a:lnTo>
                  <a:lnTo>
                    <a:pt x="291" y="91"/>
                  </a:lnTo>
                  <a:lnTo>
                    <a:pt x="271" y="89"/>
                  </a:lnTo>
                  <a:lnTo>
                    <a:pt x="242" y="88"/>
                  </a:lnTo>
                  <a:lnTo>
                    <a:pt x="225" y="99"/>
                  </a:lnTo>
                  <a:lnTo>
                    <a:pt x="221" y="107"/>
                  </a:lnTo>
                  <a:lnTo>
                    <a:pt x="220" y="119"/>
                  </a:lnTo>
                  <a:lnTo>
                    <a:pt x="204" y="121"/>
                  </a:lnTo>
                  <a:lnTo>
                    <a:pt x="193" y="129"/>
                  </a:lnTo>
                  <a:lnTo>
                    <a:pt x="179" y="123"/>
                  </a:lnTo>
                  <a:lnTo>
                    <a:pt x="172" y="121"/>
                  </a:lnTo>
                  <a:lnTo>
                    <a:pt x="167" y="127"/>
                  </a:lnTo>
                  <a:lnTo>
                    <a:pt x="157" y="129"/>
                  </a:lnTo>
                  <a:lnTo>
                    <a:pt x="151" y="138"/>
                  </a:lnTo>
                  <a:lnTo>
                    <a:pt x="143" y="138"/>
                  </a:lnTo>
                  <a:lnTo>
                    <a:pt x="136" y="144"/>
                  </a:lnTo>
                  <a:lnTo>
                    <a:pt x="125" y="143"/>
                  </a:lnTo>
                  <a:lnTo>
                    <a:pt x="117" y="153"/>
                  </a:lnTo>
                  <a:lnTo>
                    <a:pt x="106" y="178"/>
                  </a:lnTo>
                  <a:lnTo>
                    <a:pt x="53" y="178"/>
                  </a:lnTo>
                  <a:lnTo>
                    <a:pt x="17" y="142"/>
                  </a:lnTo>
                  <a:lnTo>
                    <a:pt x="11" y="134"/>
                  </a:lnTo>
                  <a:lnTo>
                    <a:pt x="6" y="118"/>
                  </a:lnTo>
                  <a:lnTo>
                    <a:pt x="0" y="106"/>
                  </a:lnTo>
                  <a:lnTo>
                    <a:pt x="2" y="94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29" name="Freeform 22" descr="Wide upward diagonal"/>
            <p:cNvSpPr>
              <a:spLocks/>
            </p:cNvSpPr>
            <p:nvPr/>
          </p:nvSpPr>
          <p:spPr bwMode="auto">
            <a:xfrm>
              <a:off x="3092627" y="3383572"/>
              <a:ext cx="1336862" cy="689564"/>
            </a:xfrm>
            <a:custGeom>
              <a:avLst/>
              <a:gdLst>
                <a:gd name="T0" fmla="*/ 2147483647 w 426"/>
                <a:gd name="T1" fmla="*/ 2147483647 h 269"/>
                <a:gd name="T2" fmla="*/ 2147483647 w 426"/>
                <a:gd name="T3" fmla="*/ 2147483647 h 269"/>
                <a:gd name="T4" fmla="*/ 2147483647 w 426"/>
                <a:gd name="T5" fmla="*/ 2147483647 h 269"/>
                <a:gd name="T6" fmla="*/ 2147483647 w 426"/>
                <a:gd name="T7" fmla="*/ 2147483647 h 269"/>
                <a:gd name="T8" fmla="*/ 2147483647 w 426"/>
                <a:gd name="T9" fmla="*/ 2147483647 h 269"/>
                <a:gd name="T10" fmla="*/ 2147483647 w 426"/>
                <a:gd name="T11" fmla="*/ 2147483647 h 269"/>
                <a:gd name="T12" fmla="*/ 2147483647 w 426"/>
                <a:gd name="T13" fmla="*/ 2147483647 h 269"/>
                <a:gd name="T14" fmla="*/ 2147483647 w 426"/>
                <a:gd name="T15" fmla="*/ 2147483647 h 269"/>
                <a:gd name="T16" fmla="*/ 2147483647 w 426"/>
                <a:gd name="T17" fmla="*/ 2147483647 h 269"/>
                <a:gd name="T18" fmla="*/ 2147483647 w 426"/>
                <a:gd name="T19" fmla="*/ 2147483647 h 269"/>
                <a:gd name="T20" fmla="*/ 2147483647 w 426"/>
                <a:gd name="T21" fmla="*/ 2147483647 h 269"/>
                <a:gd name="T22" fmla="*/ 2147483647 w 426"/>
                <a:gd name="T23" fmla="*/ 2147483647 h 269"/>
                <a:gd name="T24" fmla="*/ 2147483647 w 426"/>
                <a:gd name="T25" fmla="*/ 0 h 269"/>
                <a:gd name="T26" fmla="*/ 2147483647 w 426"/>
                <a:gd name="T27" fmla="*/ 2147483647 h 269"/>
                <a:gd name="T28" fmla="*/ 2147483647 w 426"/>
                <a:gd name="T29" fmla="*/ 2147483647 h 269"/>
                <a:gd name="T30" fmla="*/ 2147483647 w 426"/>
                <a:gd name="T31" fmla="*/ 2147483647 h 269"/>
                <a:gd name="T32" fmla="*/ 2147483647 w 426"/>
                <a:gd name="T33" fmla="*/ 2147483647 h 269"/>
                <a:gd name="T34" fmla="*/ 2147483647 w 426"/>
                <a:gd name="T35" fmla="*/ 2147483647 h 269"/>
                <a:gd name="T36" fmla="*/ 2147483647 w 426"/>
                <a:gd name="T37" fmla="*/ 2147483647 h 269"/>
                <a:gd name="T38" fmla="*/ 2147483647 w 426"/>
                <a:gd name="T39" fmla="*/ 2147483647 h 269"/>
                <a:gd name="T40" fmla="*/ 2147483647 w 426"/>
                <a:gd name="T41" fmla="*/ 2147483647 h 269"/>
                <a:gd name="T42" fmla="*/ 2147483647 w 426"/>
                <a:gd name="T43" fmla="*/ 2147483647 h 269"/>
                <a:gd name="T44" fmla="*/ 2147483647 w 426"/>
                <a:gd name="T45" fmla="*/ 2147483647 h 269"/>
                <a:gd name="T46" fmla="*/ 2147483647 w 426"/>
                <a:gd name="T47" fmla="*/ 2147483647 h 269"/>
                <a:gd name="T48" fmla="*/ 2147483647 w 426"/>
                <a:gd name="T49" fmla="*/ 2147483647 h 269"/>
                <a:gd name="T50" fmla="*/ 2147483647 w 426"/>
                <a:gd name="T51" fmla="*/ 2147483647 h 269"/>
                <a:gd name="T52" fmla="*/ 2147483647 w 426"/>
                <a:gd name="T53" fmla="*/ 2147483647 h 269"/>
                <a:gd name="T54" fmla="*/ 2147483647 w 426"/>
                <a:gd name="T55" fmla="*/ 2147483647 h 269"/>
                <a:gd name="T56" fmla="*/ 2147483647 w 426"/>
                <a:gd name="T57" fmla="*/ 2147483647 h 269"/>
                <a:gd name="T58" fmla="*/ 2147483647 w 426"/>
                <a:gd name="T59" fmla="*/ 2147483647 h 269"/>
                <a:gd name="T60" fmla="*/ 2147483647 w 426"/>
                <a:gd name="T61" fmla="*/ 2147483647 h 269"/>
                <a:gd name="T62" fmla="*/ 2147483647 w 426"/>
                <a:gd name="T63" fmla="*/ 2147483647 h 269"/>
                <a:gd name="T64" fmla="*/ 2147483647 w 426"/>
                <a:gd name="T65" fmla="*/ 2147483647 h 269"/>
                <a:gd name="T66" fmla="*/ 2147483647 w 426"/>
                <a:gd name="T67" fmla="*/ 2147483647 h 269"/>
                <a:gd name="T68" fmla="*/ 2147483647 w 426"/>
                <a:gd name="T69" fmla="*/ 2147483647 h 269"/>
                <a:gd name="T70" fmla="*/ 2147483647 w 426"/>
                <a:gd name="T71" fmla="*/ 2147483647 h 269"/>
                <a:gd name="T72" fmla="*/ 0 w 426"/>
                <a:gd name="T73" fmla="*/ 2147483647 h 2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26"/>
                <a:gd name="T112" fmla="*/ 0 h 269"/>
                <a:gd name="T113" fmla="*/ 426 w 426"/>
                <a:gd name="T114" fmla="*/ 269 h 2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26" h="269">
                  <a:moveTo>
                    <a:pt x="0" y="176"/>
                  </a:moveTo>
                  <a:lnTo>
                    <a:pt x="17" y="159"/>
                  </a:lnTo>
                  <a:lnTo>
                    <a:pt x="27" y="153"/>
                  </a:lnTo>
                  <a:lnTo>
                    <a:pt x="28" y="126"/>
                  </a:lnTo>
                  <a:lnTo>
                    <a:pt x="34" y="118"/>
                  </a:lnTo>
                  <a:lnTo>
                    <a:pt x="35" y="107"/>
                  </a:lnTo>
                  <a:lnTo>
                    <a:pt x="31" y="100"/>
                  </a:lnTo>
                  <a:lnTo>
                    <a:pt x="32" y="90"/>
                  </a:lnTo>
                  <a:lnTo>
                    <a:pt x="46" y="90"/>
                  </a:lnTo>
                  <a:lnTo>
                    <a:pt x="62" y="90"/>
                  </a:lnTo>
                  <a:lnTo>
                    <a:pt x="65" y="82"/>
                  </a:lnTo>
                  <a:lnTo>
                    <a:pt x="71" y="87"/>
                  </a:lnTo>
                  <a:lnTo>
                    <a:pt x="71" y="56"/>
                  </a:lnTo>
                  <a:lnTo>
                    <a:pt x="103" y="88"/>
                  </a:lnTo>
                  <a:lnTo>
                    <a:pt x="155" y="88"/>
                  </a:lnTo>
                  <a:lnTo>
                    <a:pt x="175" y="53"/>
                  </a:lnTo>
                  <a:lnTo>
                    <a:pt x="186" y="53"/>
                  </a:lnTo>
                  <a:lnTo>
                    <a:pt x="193" y="46"/>
                  </a:lnTo>
                  <a:lnTo>
                    <a:pt x="210" y="38"/>
                  </a:lnTo>
                  <a:lnTo>
                    <a:pt x="217" y="40"/>
                  </a:lnTo>
                  <a:lnTo>
                    <a:pt x="227" y="31"/>
                  </a:lnTo>
                  <a:lnTo>
                    <a:pt x="244" y="41"/>
                  </a:lnTo>
                  <a:lnTo>
                    <a:pt x="254" y="32"/>
                  </a:lnTo>
                  <a:lnTo>
                    <a:pt x="271" y="30"/>
                  </a:lnTo>
                  <a:lnTo>
                    <a:pt x="275" y="9"/>
                  </a:lnTo>
                  <a:lnTo>
                    <a:pt x="292" y="0"/>
                  </a:lnTo>
                  <a:lnTo>
                    <a:pt x="322" y="0"/>
                  </a:lnTo>
                  <a:lnTo>
                    <a:pt x="345" y="1"/>
                  </a:lnTo>
                  <a:lnTo>
                    <a:pt x="364" y="13"/>
                  </a:lnTo>
                  <a:lnTo>
                    <a:pt x="380" y="4"/>
                  </a:lnTo>
                  <a:lnTo>
                    <a:pt x="399" y="15"/>
                  </a:lnTo>
                  <a:lnTo>
                    <a:pt x="414" y="25"/>
                  </a:lnTo>
                  <a:lnTo>
                    <a:pt x="424" y="38"/>
                  </a:lnTo>
                  <a:lnTo>
                    <a:pt x="426" y="50"/>
                  </a:lnTo>
                  <a:lnTo>
                    <a:pt x="417" y="63"/>
                  </a:lnTo>
                  <a:lnTo>
                    <a:pt x="399" y="65"/>
                  </a:lnTo>
                  <a:lnTo>
                    <a:pt x="389" y="69"/>
                  </a:lnTo>
                  <a:lnTo>
                    <a:pt x="382" y="87"/>
                  </a:lnTo>
                  <a:lnTo>
                    <a:pt x="381" y="103"/>
                  </a:lnTo>
                  <a:lnTo>
                    <a:pt x="373" y="104"/>
                  </a:lnTo>
                  <a:lnTo>
                    <a:pt x="374" y="120"/>
                  </a:lnTo>
                  <a:lnTo>
                    <a:pt x="363" y="133"/>
                  </a:lnTo>
                  <a:lnTo>
                    <a:pt x="362" y="143"/>
                  </a:lnTo>
                  <a:lnTo>
                    <a:pt x="352" y="157"/>
                  </a:lnTo>
                  <a:lnTo>
                    <a:pt x="349" y="173"/>
                  </a:lnTo>
                  <a:lnTo>
                    <a:pt x="338" y="189"/>
                  </a:lnTo>
                  <a:lnTo>
                    <a:pt x="336" y="200"/>
                  </a:lnTo>
                  <a:lnTo>
                    <a:pt x="325" y="212"/>
                  </a:lnTo>
                  <a:lnTo>
                    <a:pt x="300" y="219"/>
                  </a:lnTo>
                  <a:lnTo>
                    <a:pt x="288" y="228"/>
                  </a:lnTo>
                  <a:lnTo>
                    <a:pt x="279" y="233"/>
                  </a:lnTo>
                  <a:lnTo>
                    <a:pt x="268" y="227"/>
                  </a:lnTo>
                  <a:lnTo>
                    <a:pt x="255" y="223"/>
                  </a:lnTo>
                  <a:lnTo>
                    <a:pt x="243" y="224"/>
                  </a:lnTo>
                  <a:lnTo>
                    <a:pt x="234" y="225"/>
                  </a:lnTo>
                  <a:lnTo>
                    <a:pt x="222" y="239"/>
                  </a:lnTo>
                  <a:lnTo>
                    <a:pt x="211" y="245"/>
                  </a:lnTo>
                  <a:lnTo>
                    <a:pt x="195" y="244"/>
                  </a:lnTo>
                  <a:lnTo>
                    <a:pt x="188" y="252"/>
                  </a:lnTo>
                  <a:lnTo>
                    <a:pt x="178" y="252"/>
                  </a:lnTo>
                  <a:lnTo>
                    <a:pt x="162" y="262"/>
                  </a:lnTo>
                  <a:lnTo>
                    <a:pt x="144" y="269"/>
                  </a:lnTo>
                  <a:lnTo>
                    <a:pt x="124" y="268"/>
                  </a:lnTo>
                  <a:lnTo>
                    <a:pt x="105" y="261"/>
                  </a:lnTo>
                  <a:lnTo>
                    <a:pt x="91" y="252"/>
                  </a:lnTo>
                  <a:lnTo>
                    <a:pt x="83" y="239"/>
                  </a:lnTo>
                  <a:lnTo>
                    <a:pt x="69" y="233"/>
                  </a:lnTo>
                  <a:lnTo>
                    <a:pt x="58" y="224"/>
                  </a:lnTo>
                  <a:lnTo>
                    <a:pt x="47" y="210"/>
                  </a:lnTo>
                  <a:lnTo>
                    <a:pt x="28" y="202"/>
                  </a:lnTo>
                  <a:lnTo>
                    <a:pt x="25" y="190"/>
                  </a:lnTo>
                  <a:lnTo>
                    <a:pt x="20" y="181"/>
                  </a:lnTo>
                  <a:lnTo>
                    <a:pt x="11" y="173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30" name="Freeform 23"/>
            <p:cNvSpPr>
              <a:spLocks/>
            </p:cNvSpPr>
            <p:nvPr/>
          </p:nvSpPr>
          <p:spPr bwMode="auto">
            <a:xfrm>
              <a:off x="2299087" y="2803064"/>
              <a:ext cx="1308265" cy="590580"/>
            </a:xfrm>
            <a:custGeom>
              <a:avLst/>
              <a:gdLst>
                <a:gd name="T0" fmla="*/ 2147483647 w 418"/>
                <a:gd name="T1" fmla="*/ 2147483647 h 230"/>
                <a:gd name="T2" fmla="*/ 2147483647 w 418"/>
                <a:gd name="T3" fmla="*/ 2147483647 h 230"/>
                <a:gd name="T4" fmla="*/ 2147483647 w 418"/>
                <a:gd name="T5" fmla="*/ 2147483647 h 230"/>
                <a:gd name="T6" fmla="*/ 2147483647 w 418"/>
                <a:gd name="T7" fmla="*/ 2147483647 h 230"/>
                <a:gd name="T8" fmla="*/ 2147483647 w 418"/>
                <a:gd name="T9" fmla="*/ 2147483647 h 230"/>
                <a:gd name="T10" fmla="*/ 2147483647 w 418"/>
                <a:gd name="T11" fmla="*/ 2147483647 h 230"/>
                <a:gd name="T12" fmla="*/ 2147483647 w 418"/>
                <a:gd name="T13" fmla="*/ 2147483647 h 230"/>
                <a:gd name="T14" fmla="*/ 2147483647 w 418"/>
                <a:gd name="T15" fmla="*/ 2147483647 h 230"/>
                <a:gd name="T16" fmla="*/ 2147483647 w 418"/>
                <a:gd name="T17" fmla="*/ 2147483647 h 230"/>
                <a:gd name="T18" fmla="*/ 2147483647 w 418"/>
                <a:gd name="T19" fmla="*/ 2147483647 h 230"/>
                <a:gd name="T20" fmla="*/ 2147483647 w 418"/>
                <a:gd name="T21" fmla="*/ 2147483647 h 230"/>
                <a:gd name="T22" fmla="*/ 2147483647 w 418"/>
                <a:gd name="T23" fmla="*/ 2147483647 h 230"/>
                <a:gd name="T24" fmla="*/ 2147483647 w 418"/>
                <a:gd name="T25" fmla="*/ 2147483647 h 230"/>
                <a:gd name="T26" fmla="*/ 2147483647 w 418"/>
                <a:gd name="T27" fmla="*/ 2147483647 h 230"/>
                <a:gd name="T28" fmla="*/ 2147483647 w 418"/>
                <a:gd name="T29" fmla="*/ 2147483647 h 230"/>
                <a:gd name="T30" fmla="*/ 2147483647 w 418"/>
                <a:gd name="T31" fmla="*/ 2147483647 h 230"/>
                <a:gd name="T32" fmla="*/ 2147483647 w 418"/>
                <a:gd name="T33" fmla="*/ 2147483647 h 230"/>
                <a:gd name="T34" fmla="*/ 2147483647 w 418"/>
                <a:gd name="T35" fmla="*/ 2147483647 h 230"/>
                <a:gd name="T36" fmla="*/ 2147483647 w 418"/>
                <a:gd name="T37" fmla="*/ 2147483647 h 230"/>
                <a:gd name="T38" fmla="*/ 2147483647 w 418"/>
                <a:gd name="T39" fmla="*/ 2147483647 h 230"/>
                <a:gd name="T40" fmla="*/ 2147483647 w 418"/>
                <a:gd name="T41" fmla="*/ 2147483647 h 230"/>
                <a:gd name="T42" fmla="*/ 2147483647 w 418"/>
                <a:gd name="T43" fmla="*/ 2147483647 h 230"/>
                <a:gd name="T44" fmla="*/ 2147483647 w 418"/>
                <a:gd name="T45" fmla="*/ 2147483647 h 230"/>
                <a:gd name="T46" fmla="*/ 2147483647 w 418"/>
                <a:gd name="T47" fmla="*/ 2147483647 h 230"/>
                <a:gd name="T48" fmla="*/ 2147483647 w 418"/>
                <a:gd name="T49" fmla="*/ 2147483647 h 230"/>
                <a:gd name="T50" fmla="*/ 2147483647 w 418"/>
                <a:gd name="T51" fmla="*/ 2147483647 h 230"/>
                <a:gd name="T52" fmla="*/ 2147483647 w 418"/>
                <a:gd name="T53" fmla="*/ 2147483647 h 230"/>
                <a:gd name="T54" fmla="*/ 2147483647 w 418"/>
                <a:gd name="T55" fmla="*/ 2147483647 h 230"/>
                <a:gd name="T56" fmla="*/ 2147483647 w 418"/>
                <a:gd name="T57" fmla="*/ 2147483647 h 230"/>
                <a:gd name="T58" fmla="*/ 0 w 418"/>
                <a:gd name="T59" fmla="*/ 2147483647 h 230"/>
                <a:gd name="T60" fmla="*/ 2147483647 w 418"/>
                <a:gd name="T61" fmla="*/ 2147483647 h 230"/>
                <a:gd name="T62" fmla="*/ 2147483647 w 418"/>
                <a:gd name="T63" fmla="*/ 2147483647 h 230"/>
                <a:gd name="T64" fmla="*/ 2147483647 w 418"/>
                <a:gd name="T65" fmla="*/ 2147483647 h 230"/>
                <a:gd name="T66" fmla="*/ 2147483647 w 418"/>
                <a:gd name="T67" fmla="*/ 2147483647 h 230"/>
                <a:gd name="T68" fmla="*/ 2147483647 w 418"/>
                <a:gd name="T69" fmla="*/ 2147483647 h 230"/>
                <a:gd name="T70" fmla="*/ 2147483647 w 418"/>
                <a:gd name="T71" fmla="*/ 2147483647 h 23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18"/>
                <a:gd name="T109" fmla="*/ 0 h 230"/>
                <a:gd name="T110" fmla="*/ 418 w 418"/>
                <a:gd name="T111" fmla="*/ 230 h 23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18" h="230">
                  <a:moveTo>
                    <a:pt x="173" y="21"/>
                  </a:moveTo>
                  <a:cubicBezTo>
                    <a:pt x="174" y="18"/>
                    <a:pt x="173" y="19"/>
                    <a:pt x="176" y="17"/>
                  </a:cubicBezTo>
                  <a:cubicBezTo>
                    <a:pt x="178" y="16"/>
                    <a:pt x="182" y="15"/>
                    <a:pt x="182" y="15"/>
                  </a:cubicBezTo>
                  <a:cubicBezTo>
                    <a:pt x="186" y="10"/>
                    <a:pt x="187" y="11"/>
                    <a:pt x="194" y="12"/>
                  </a:cubicBezTo>
                  <a:cubicBezTo>
                    <a:pt x="196" y="15"/>
                    <a:pt x="200" y="19"/>
                    <a:pt x="204" y="20"/>
                  </a:cubicBezTo>
                  <a:cubicBezTo>
                    <a:pt x="212" y="31"/>
                    <a:pt x="228" y="27"/>
                    <a:pt x="240" y="27"/>
                  </a:cubicBezTo>
                  <a:cubicBezTo>
                    <a:pt x="246" y="29"/>
                    <a:pt x="245" y="38"/>
                    <a:pt x="247" y="43"/>
                  </a:cubicBezTo>
                  <a:cubicBezTo>
                    <a:pt x="247" y="44"/>
                    <a:pt x="260" y="47"/>
                    <a:pt x="262" y="49"/>
                  </a:cubicBezTo>
                  <a:cubicBezTo>
                    <a:pt x="264" y="56"/>
                    <a:pt x="264" y="69"/>
                    <a:pt x="272" y="72"/>
                  </a:cubicBezTo>
                  <a:cubicBezTo>
                    <a:pt x="274" y="78"/>
                    <a:pt x="280" y="79"/>
                    <a:pt x="285" y="82"/>
                  </a:cubicBezTo>
                  <a:cubicBezTo>
                    <a:pt x="288" y="82"/>
                    <a:pt x="292" y="82"/>
                    <a:pt x="295" y="81"/>
                  </a:cubicBezTo>
                  <a:cubicBezTo>
                    <a:pt x="301" y="78"/>
                    <a:pt x="297" y="70"/>
                    <a:pt x="304" y="68"/>
                  </a:cubicBezTo>
                  <a:cubicBezTo>
                    <a:pt x="314" y="69"/>
                    <a:pt x="324" y="70"/>
                    <a:pt x="333" y="72"/>
                  </a:cubicBezTo>
                  <a:cubicBezTo>
                    <a:pt x="337" y="73"/>
                    <a:pt x="345" y="76"/>
                    <a:pt x="345" y="76"/>
                  </a:cubicBezTo>
                  <a:cubicBezTo>
                    <a:pt x="346" y="79"/>
                    <a:pt x="351" y="92"/>
                    <a:pt x="354" y="94"/>
                  </a:cubicBezTo>
                  <a:cubicBezTo>
                    <a:pt x="357" y="96"/>
                    <a:pt x="360" y="96"/>
                    <a:pt x="363" y="97"/>
                  </a:cubicBezTo>
                  <a:cubicBezTo>
                    <a:pt x="364" y="97"/>
                    <a:pt x="366" y="98"/>
                    <a:pt x="366" y="98"/>
                  </a:cubicBezTo>
                  <a:cubicBezTo>
                    <a:pt x="367" y="101"/>
                    <a:pt x="373" y="105"/>
                    <a:pt x="373" y="105"/>
                  </a:cubicBezTo>
                  <a:cubicBezTo>
                    <a:pt x="377" y="111"/>
                    <a:pt x="378" y="115"/>
                    <a:pt x="385" y="117"/>
                  </a:cubicBezTo>
                  <a:cubicBezTo>
                    <a:pt x="388" y="121"/>
                    <a:pt x="392" y="122"/>
                    <a:pt x="396" y="125"/>
                  </a:cubicBezTo>
                  <a:cubicBezTo>
                    <a:pt x="397" y="126"/>
                    <a:pt x="399" y="127"/>
                    <a:pt x="399" y="127"/>
                  </a:cubicBezTo>
                  <a:cubicBezTo>
                    <a:pt x="402" y="131"/>
                    <a:pt x="402" y="135"/>
                    <a:pt x="407" y="137"/>
                  </a:cubicBezTo>
                  <a:cubicBezTo>
                    <a:pt x="409" y="141"/>
                    <a:pt x="412" y="141"/>
                    <a:pt x="415" y="144"/>
                  </a:cubicBezTo>
                  <a:cubicBezTo>
                    <a:pt x="418" y="152"/>
                    <a:pt x="408" y="148"/>
                    <a:pt x="403" y="148"/>
                  </a:cubicBezTo>
                  <a:cubicBezTo>
                    <a:pt x="394" y="150"/>
                    <a:pt x="393" y="159"/>
                    <a:pt x="390" y="167"/>
                  </a:cubicBezTo>
                  <a:cubicBezTo>
                    <a:pt x="389" y="171"/>
                    <a:pt x="377" y="171"/>
                    <a:pt x="377" y="171"/>
                  </a:cubicBezTo>
                  <a:cubicBezTo>
                    <a:pt x="376" y="179"/>
                    <a:pt x="374" y="185"/>
                    <a:pt x="379" y="192"/>
                  </a:cubicBezTo>
                  <a:cubicBezTo>
                    <a:pt x="370" y="195"/>
                    <a:pt x="372" y="201"/>
                    <a:pt x="360" y="205"/>
                  </a:cubicBezTo>
                  <a:cubicBezTo>
                    <a:pt x="359" y="211"/>
                    <a:pt x="360" y="214"/>
                    <a:pt x="355" y="216"/>
                  </a:cubicBezTo>
                  <a:cubicBezTo>
                    <a:pt x="354" y="220"/>
                    <a:pt x="349" y="222"/>
                    <a:pt x="345" y="223"/>
                  </a:cubicBezTo>
                  <a:cubicBezTo>
                    <a:pt x="338" y="221"/>
                    <a:pt x="332" y="219"/>
                    <a:pt x="325" y="218"/>
                  </a:cubicBezTo>
                  <a:cubicBezTo>
                    <a:pt x="320" y="219"/>
                    <a:pt x="310" y="221"/>
                    <a:pt x="310" y="221"/>
                  </a:cubicBezTo>
                  <a:cubicBezTo>
                    <a:pt x="309" y="225"/>
                    <a:pt x="307" y="227"/>
                    <a:pt x="304" y="229"/>
                  </a:cubicBezTo>
                  <a:cubicBezTo>
                    <a:pt x="300" y="228"/>
                    <a:pt x="301" y="225"/>
                    <a:pt x="297" y="223"/>
                  </a:cubicBezTo>
                  <a:cubicBezTo>
                    <a:pt x="295" y="218"/>
                    <a:pt x="293" y="215"/>
                    <a:pt x="288" y="213"/>
                  </a:cubicBezTo>
                  <a:cubicBezTo>
                    <a:pt x="286" y="212"/>
                    <a:pt x="282" y="211"/>
                    <a:pt x="282" y="211"/>
                  </a:cubicBezTo>
                  <a:cubicBezTo>
                    <a:pt x="276" y="212"/>
                    <a:pt x="271" y="215"/>
                    <a:pt x="265" y="216"/>
                  </a:cubicBezTo>
                  <a:cubicBezTo>
                    <a:pt x="253" y="215"/>
                    <a:pt x="258" y="216"/>
                    <a:pt x="249" y="213"/>
                  </a:cubicBezTo>
                  <a:cubicBezTo>
                    <a:pt x="247" y="212"/>
                    <a:pt x="243" y="211"/>
                    <a:pt x="243" y="211"/>
                  </a:cubicBezTo>
                  <a:cubicBezTo>
                    <a:pt x="241" y="205"/>
                    <a:pt x="219" y="197"/>
                    <a:pt x="211" y="195"/>
                  </a:cubicBezTo>
                  <a:cubicBezTo>
                    <a:pt x="205" y="195"/>
                    <a:pt x="199" y="195"/>
                    <a:pt x="193" y="196"/>
                  </a:cubicBezTo>
                  <a:cubicBezTo>
                    <a:pt x="190" y="196"/>
                    <a:pt x="184" y="201"/>
                    <a:pt x="184" y="201"/>
                  </a:cubicBezTo>
                  <a:cubicBezTo>
                    <a:pt x="179" y="208"/>
                    <a:pt x="182" y="206"/>
                    <a:pt x="177" y="209"/>
                  </a:cubicBezTo>
                  <a:cubicBezTo>
                    <a:pt x="175" y="214"/>
                    <a:pt x="172" y="219"/>
                    <a:pt x="169" y="224"/>
                  </a:cubicBezTo>
                  <a:cubicBezTo>
                    <a:pt x="167" y="228"/>
                    <a:pt x="157" y="230"/>
                    <a:pt x="157" y="230"/>
                  </a:cubicBezTo>
                  <a:cubicBezTo>
                    <a:pt x="146" y="229"/>
                    <a:pt x="135" y="230"/>
                    <a:pt x="124" y="226"/>
                  </a:cubicBezTo>
                  <a:cubicBezTo>
                    <a:pt x="118" y="218"/>
                    <a:pt x="106" y="219"/>
                    <a:pt x="98" y="214"/>
                  </a:cubicBezTo>
                  <a:cubicBezTo>
                    <a:pt x="96" y="210"/>
                    <a:pt x="92" y="206"/>
                    <a:pt x="88" y="204"/>
                  </a:cubicBezTo>
                  <a:cubicBezTo>
                    <a:pt x="87" y="200"/>
                    <a:pt x="85" y="198"/>
                    <a:pt x="82" y="196"/>
                  </a:cubicBezTo>
                  <a:cubicBezTo>
                    <a:pt x="77" y="189"/>
                    <a:pt x="80" y="191"/>
                    <a:pt x="75" y="188"/>
                  </a:cubicBezTo>
                  <a:cubicBezTo>
                    <a:pt x="73" y="183"/>
                    <a:pt x="68" y="178"/>
                    <a:pt x="64" y="175"/>
                  </a:cubicBezTo>
                  <a:cubicBezTo>
                    <a:pt x="60" y="170"/>
                    <a:pt x="56" y="167"/>
                    <a:pt x="51" y="164"/>
                  </a:cubicBezTo>
                  <a:cubicBezTo>
                    <a:pt x="49" y="161"/>
                    <a:pt x="47" y="159"/>
                    <a:pt x="44" y="157"/>
                  </a:cubicBezTo>
                  <a:cubicBezTo>
                    <a:pt x="41" y="155"/>
                    <a:pt x="35" y="151"/>
                    <a:pt x="35" y="151"/>
                  </a:cubicBezTo>
                  <a:cubicBezTo>
                    <a:pt x="33" y="146"/>
                    <a:pt x="29" y="142"/>
                    <a:pt x="27" y="137"/>
                  </a:cubicBezTo>
                  <a:cubicBezTo>
                    <a:pt x="26" y="134"/>
                    <a:pt x="23" y="128"/>
                    <a:pt x="23" y="128"/>
                  </a:cubicBezTo>
                  <a:cubicBezTo>
                    <a:pt x="22" y="123"/>
                    <a:pt x="18" y="120"/>
                    <a:pt x="17" y="115"/>
                  </a:cubicBezTo>
                  <a:cubicBezTo>
                    <a:pt x="16" y="110"/>
                    <a:pt x="16" y="102"/>
                    <a:pt x="14" y="98"/>
                  </a:cubicBezTo>
                  <a:cubicBezTo>
                    <a:pt x="12" y="95"/>
                    <a:pt x="10" y="90"/>
                    <a:pt x="6" y="88"/>
                  </a:cubicBezTo>
                  <a:cubicBezTo>
                    <a:pt x="4" y="85"/>
                    <a:pt x="1" y="84"/>
                    <a:pt x="0" y="80"/>
                  </a:cubicBezTo>
                  <a:cubicBezTo>
                    <a:pt x="1" y="68"/>
                    <a:pt x="5" y="71"/>
                    <a:pt x="10" y="79"/>
                  </a:cubicBezTo>
                  <a:cubicBezTo>
                    <a:pt x="11" y="80"/>
                    <a:pt x="12" y="80"/>
                    <a:pt x="13" y="80"/>
                  </a:cubicBezTo>
                  <a:cubicBezTo>
                    <a:pt x="19" y="79"/>
                    <a:pt x="21" y="79"/>
                    <a:pt x="26" y="76"/>
                  </a:cubicBezTo>
                  <a:cubicBezTo>
                    <a:pt x="29" y="66"/>
                    <a:pt x="58" y="59"/>
                    <a:pt x="68" y="58"/>
                  </a:cubicBezTo>
                  <a:cubicBezTo>
                    <a:pt x="72" y="57"/>
                    <a:pt x="76" y="53"/>
                    <a:pt x="80" y="52"/>
                  </a:cubicBezTo>
                  <a:cubicBezTo>
                    <a:pt x="88" y="40"/>
                    <a:pt x="89" y="35"/>
                    <a:pt x="105" y="33"/>
                  </a:cubicBezTo>
                  <a:cubicBezTo>
                    <a:pt x="110" y="30"/>
                    <a:pt x="114" y="29"/>
                    <a:pt x="120" y="28"/>
                  </a:cubicBezTo>
                  <a:cubicBezTo>
                    <a:pt x="126" y="24"/>
                    <a:pt x="128" y="24"/>
                    <a:pt x="134" y="22"/>
                  </a:cubicBezTo>
                  <a:cubicBezTo>
                    <a:pt x="137" y="14"/>
                    <a:pt x="130" y="3"/>
                    <a:pt x="139" y="0"/>
                  </a:cubicBezTo>
                  <a:cubicBezTo>
                    <a:pt x="143" y="1"/>
                    <a:pt x="144" y="4"/>
                    <a:pt x="147" y="6"/>
                  </a:cubicBezTo>
                  <a:cubicBezTo>
                    <a:pt x="149" y="11"/>
                    <a:pt x="152" y="14"/>
                    <a:pt x="156" y="17"/>
                  </a:cubicBezTo>
                  <a:cubicBezTo>
                    <a:pt x="158" y="20"/>
                    <a:pt x="164" y="22"/>
                    <a:pt x="164" y="22"/>
                  </a:cubicBezTo>
                  <a:cubicBezTo>
                    <a:pt x="168" y="21"/>
                    <a:pt x="175" y="29"/>
                    <a:pt x="173" y="2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1" name="Freeform 24"/>
            <p:cNvSpPr>
              <a:spLocks/>
            </p:cNvSpPr>
            <p:nvPr/>
          </p:nvSpPr>
          <p:spPr bwMode="auto">
            <a:xfrm>
              <a:off x="2699428" y="1879249"/>
              <a:ext cx="1876615" cy="1365926"/>
            </a:xfrm>
            <a:custGeom>
              <a:avLst/>
              <a:gdLst>
                <a:gd name="T0" fmla="*/ 2147483647 w 599"/>
                <a:gd name="T1" fmla="*/ 2147483647 h 535"/>
                <a:gd name="T2" fmla="*/ 2147483647 w 599"/>
                <a:gd name="T3" fmla="*/ 2147483647 h 535"/>
                <a:gd name="T4" fmla="*/ 2147483647 w 599"/>
                <a:gd name="T5" fmla="*/ 2147483647 h 535"/>
                <a:gd name="T6" fmla="*/ 2147483647 w 599"/>
                <a:gd name="T7" fmla="*/ 2147483647 h 535"/>
                <a:gd name="T8" fmla="*/ 2147483647 w 599"/>
                <a:gd name="T9" fmla="*/ 2147483647 h 535"/>
                <a:gd name="T10" fmla="*/ 2147483647 w 599"/>
                <a:gd name="T11" fmla="*/ 2147483647 h 535"/>
                <a:gd name="T12" fmla="*/ 2147483647 w 599"/>
                <a:gd name="T13" fmla="*/ 2147483647 h 535"/>
                <a:gd name="T14" fmla="*/ 2147483647 w 599"/>
                <a:gd name="T15" fmla="*/ 2147483647 h 535"/>
                <a:gd name="T16" fmla="*/ 2147483647 w 599"/>
                <a:gd name="T17" fmla="*/ 2147483647 h 535"/>
                <a:gd name="T18" fmla="*/ 2147483647 w 599"/>
                <a:gd name="T19" fmla="*/ 2147483647 h 535"/>
                <a:gd name="T20" fmla="*/ 2147483647 w 599"/>
                <a:gd name="T21" fmla="*/ 2147483647 h 535"/>
                <a:gd name="T22" fmla="*/ 2147483647 w 599"/>
                <a:gd name="T23" fmla="*/ 2147483647 h 535"/>
                <a:gd name="T24" fmla="*/ 2147483647 w 599"/>
                <a:gd name="T25" fmla="*/ 2147483647 h 535"/>
                <a:gd name="T26" fmla="*/ 2147483647 w 599"/>
                <a:gd name="T27" fmla="*/ 2147483647 h 535"/>
                <a:gd name="T28" fmla="*/ 2147483647 w 599"/>
                <a:gd name="T29" fmla="*/ 2147483647 h 535"/>
                <a:gd name="T30" fmla="*/ 2147483647 w 599"/>
                <a:gd name="T31" fmla="*/ 2147483647 h 535"/>
                <a:gd name="T32" fmla="*/ 2147483647 w 599"/>
                <a:gd name="T33" fmla="*/ 2147483647 h 535"/>
                <a:gd name="T34" fmla="*/ 2147483647 w 599"/>
                <a:gd name="T35" fmla="*/ 2147483647 h 535"/>
                <a:gd name="T36" fmla="*/ 2147483647 w 599"/>
                <a:gd name="T37" fmla="*/ 2147483647 h 535"/>
                <a:gd name="T38" fmla="*/ 2147483647 w 599"/>
                <a:gd name="T39" fmla="*/ 2147483647 h 535"/>
                <a:gd name="T40" fmla="*/ 2147483647 w 599"/>
                <a:gd name="T41" fmla="*/ 2147483647 h 535"/>
                <a:gd name="T42" fmla="*/ 2147483647 w 599"/>
                <a:gd name="T43" fmla="*/ 2147483647 h 535"/>
                <a:gd name="T44" fmla="*/ 2147483647 w 599"/>
                <a:gd name="T45" fmla="*/ 2147483647 h 535"/>
                <a:gd name="T46" fmla="*/ 2147483647 w 599"/>
                <a:gd name="T47" fmla="*/ 2147483647 h 535"/>
                <a:gd name="T48" fmla="*/ 2147483647 w 599"/>
                <a:gd name="T49" fmla="*/ 2147483647 h 535"/>
                <a:gd name="T50" fmla="*/ 2147483647 w 599"/>
                <a:gd name="T51" fmla="*/ 2147483647 h 535"/>
                <a:gd name="T52" fmla="*/ 2147483647 w 599"/>
                <a:gd name="T53" fmla="*/ 2147483647 h 535"/>
                <a:gd name="T54" fmla="*/ 2147483647 w 599"/>
                <a:gd name="T55" fmla="*/ 2147483647 h 535"/>
                <a:gd name="T56" fmla="*/ 2147483647 w 599"/>
                <a:gd name="T57" fmla="*/ 2147483647 h 535"/>
                <a:gd name="T58" fmla="*/ 2147483647 w 599"/>
                <a:gd name="T59" fmla="*/ 2147483647 h 535"/>
                <a:gd name="T60" fmla="*/ 2147483647 w 599"/>
                <a:gd name="T61" fmla="*/ 2147483647 h 535"/>
                <a:gd name="T62" fmla="*/ 2147483647 w 599"/>
                <a:gd name="T63" fmla="*/ 2147483647 h 535"/>
                <a:gd name="T64" fmla="*/ 2147483647 w 599"/>
                <a:gd name="T65" fmla="*/ 2147483647 h 535"/>
                <a:gd name="T66" fmla="*/ 2147483647 w 599"/>
                <a:gd name="T67" fmla="*/ 2147483647 h 535"/>
                <a:gd name="T68" fmla="*/ 2147483647 w 599"/>
                <a:gd name="T69" fmla="*/ 2147483647 h 535"/>
                <a:gd name="T70" fmla="*/ 2147483647 w 599"/>
                <a:gd name="T71" fmla="*/ 2147483647 h 535"/>
                <a:gd name="T72" fmla="*/ 2147483647 w 599"/>
                <a:gd name="T73" fmla="*/ 2147483647 h 5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99"/>
                <a:gd name="T112" fmla="*/ 0 h 535"/>
                <a:gd name="T113" fmla="*/ 599 w 599"/>
                <a:gd name="T114" fmla="*/ 535 h 5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99" h="535">
                  <a:moveTo>
                    <a:pt x="308" y="34"/>
                  </a:moveTo>
                  <a:lnTo>
                    <a:pt x="347" y="40"/>
                  </a:lnTo>
                  <a:lnTo>
                    <a:pt x="409" y="45"/>
                  </a:lnTo>
                  <a:lnTo>
                    <a:pt x="445" y="36"/>
                  </a:lnTo>
                  <a:lnTo>
                    <a:pt x="482" y="24"/>
                  </a:lnTo>
                  <a:lnTo>
                    <a:pt x="503" y="27"/>
                  </a:lnTo>
                  <a:lnTo>
                    <a:pt x="524" y="46"/>
                  </a:lnTo>
                  <a:lnTo>
                    <a:pt x="533" y="75"/>
                  </a:lnTo>
                  <a:cubicBezTo>
                    <a:pt x="535" y="84"/>
                    <a:pt x="538" y="93"/>
                    <a:pt x="541" y="102"/>
                  </a:cubicBezTo>
                  <a:cubicBezTo>
                    <a:pt x="543" y="115"/>
                    <a:pt x="549" y="124"/>
                    <a:pt x="556" y="135"/>
                  </a:cubicBezTo>
                  <a:cubicBezTo>
                    <a:pt x="557" y="145"/>
                    <a:pt x="559" y="156"/>
                    <a:pt x="560" y="166"/>
                  </a:cubicBezTo>
                  <a:cubicBezTo>
                    <a:pt x="558" y="190"/>
                    <a:pt x="543" y="199"/>
                    <a:pt x="533" y="220"/>
                  </a:cubicBezTo>
                  <a:cubicBezTo>
                    <a:pt x="535" y="228"/>
                    <a:pt x="535" y="231"/>
                    <a:pt x="542" y="234"/>
                  </a:cubicBezTo>
                  <a:cubicBezTo>
                    <a:pt x="545" y="238"/>
                    <a:pt x="547" y="243"/>
                    <a:pt x="550" y="247"/>
                  </a:cubicBezTo>
                  <a:cubicBezTo>
                    <a:pt x="551" y="253"/>
                    <a:pt x="554" y="256"/>
                    <a:pt x="556" y="261"/>
                  </a:cubicBezTo>
                  <a:cubicBezTo>
                    <a:pt x="558" y="277"/>
                    <a:pt x="555" y="295"/>
                    <a:pt x="562" y="310"/>
                  </a:cubicBezTo>
                  <a:cubicBezTo>
                    <a:pt x="564" y="321"/>
                    <a:pt x="572" y="328"/>
                    <a:pt x="581" y="333"/>
                  </a:cubicBezTo>
                  <a:cubicBezTo>
                    <a:pt x="584" y="339"/>
                    <a:pt x="589" y="343"/>
                    <a:pt x="592" y="349"/>
                  </a:cubicBezTo>
                  <a:cubicBezTo>
                    <a:pt x="593" y="362"/>
                    <a:pt x="593" y="356"/>
                    <a:pt x="593" y="366"/>
                  </a:cubicBezTo>
                  <a:lnTo>
                    <a:pt x="599" y="387"/>
                  </a:lnTo>
                  <a:lnTo>
                    <a:pt x="572" y="409"/>
                  </a:lnTo>
                  <a:lnTo>
                    <a:pt x="547" y="439"/>
                  </a:lnTo>
                  <a:lnTo>
                    <a:pt x="530" y="481"/>
                  </a:lnTo>
                  <a:lnTo>
                    <a:pt x="535" y="505"/>
                  </a:lnTo>
                  <a:lnTo>
                    <a:pt x="532" y="525"/>
                  </a:lnTo>
                  <a:lnTo>
                    <a:pt x="512" y="525"/>
                  </a:lnTo>
                  <a:lnTo>
                    <a:pt x="478" y="510"/>
                  </a:lnTo>
                  <a:lnTo>
                    <a:pt x="457" y="498"/>
                  </a:lnTo>
                  <a:lnTo>
                    <a:pt x="425" y="507"/>
                  </a:lnTo>
                  <a:cubicBezTo>
                    <a:pt x="419" y="522"/>
                    <a:pt x="415" y="516"/>
                    <a:pt x="401" y="511"/>
                  </a:cubicBezTo>
                  <a:cubicBezTo>
                    <a:pt x="390" y="512"/>
                    <a:pt x="379" y="512"/>
                    <a:pt x="370" y="519"/>
                  </a:cubicBezTo>
                  <a:cubicBezTo>
                    <a:pt x="367" y="525"/>
                    <a:pt x="368" y="527"/>
                    <a:pt x="362" y="531"/>
                  </a:cubicBezTo>
                  <a:cubicBezTo>
                    <a:pt x="361" y="532"/>
                    <a:pt x="361" y="535"/>
                    <a:pt x="359" y="535"/>
                  </a:cubicBezTo>
                  <a:cubicBezTo>
                    <a:pt x="359" y="535"/>
                    <a:pt x="346" y="519"/>
                    <a:pt x="341" y="516"/>
                  </a:cubicBezTo>
                  <a:cubicBezTo>
                    <a:pt x="337" y="510"/>
                    <a:pt x="336" y="508"/>
                    <a:pt x="329" y="507"/>
                  </a:cubicBezTo>
                  <a:cubicBezTo>
                    <a:pt x="323" y="503"/>
                    <a:pt x="321" y="501"/>
                    <a:pt x="314" y="504"/>
                  </a:cubicBezTo>
                  <a:cubicBezTo>
                    <a:pt x="303" y="503"/>
                    <a:pt x="287" y="505"/>
                    <a:pt x="277" y="498"/>
                  </a:cubicBezTo>
                  <a:cubicBezTo>
                    <a:pt x="272" y="490"/>
                    <a:pt x="263" y="481"/>
                    <a:pt x="254" y="478"/>
                  </a:cubicBezTo>
                  <a:cubicBezTo>
                    <a:pt x="246" y="467"/>
                    <a:pt x="241" y="459"/>
                    <a:pt x="227" y="456"/>
                  </a:cubicBezTo>
                  <a:cubicBezTo>
                    <a:pt x="219" y="452"/>
                    <a:pt x="223" y="445"/>
                    <a:pt x="217" y="439"/>
                  </a:cubicBezTo>
                  <a:cubicBezTo>
                    <a:pt x="207" y="429"/>
                    <a:pt x="192" y="431"/>
                    <a:pt x="179" y="429"/>
                  </a:cubicBezTo>
                  <a:cubicBezTo>
                    <a:pt x="178" y="428"/>
                    <a:pt x="176" y="426"/>
                    <a:pt x="175" y="427"/>
                  </a:cubicBezTo>
                  <a:cubicBezTo>
                    <a:pt x="173" y="428"/>
                    <a:pt x="171" y="435"/>
                    <a:pt x="170" y="436"/>
                  </a:cubicBezTo>
                  <a:cubicBezTo>
                    <a:pt x="167" y="440"/>
                    <a:pt x="161" y="442"/>
                    <a:pt x="157" y="444"/>
                  </a:cubicBezTo>
                  <a:cubicBezTo>
                    <a:pt x="145" y="441"/>
                    <a:pt x="145" y="433"/>
                    <a:pt x="136" y="426"/>
                  </a:cubicBezTo>
                  <a:cubicBezTo>
                    <a:pt x="131" y="412"/>
                    <a:pt x="141" y="409"/>
                    <a:pt x="119" y="405"/>
                  </a:cubicBezTo>
                  <a:cubicBezTo>
                    <a:pt x="114" y="397"/>
                    <a:pt x="120" y="389"/>
                    <a:pt x="110" y="387"/>
                  </a:cubicBezTo>
                  <a:cubicBezTo>
                    <a:pt x="104" y="384"/>
                    <a:pt x="101" y="387"/>
                    <a:pt x="95" y="388"/>
                  </a:cubicBezTo>
                  <a:cubicBezTo>
                    <a:pt x="72" y="387"/>
                    <a:pt x="81" y="383"/>
                    <a:pt x="65" y="373"/>
                  </a:cubicBezTo>
                  <a:cubicBezTo>
                    <a:pt x="60" y="367"/>
                    <a:pt x="59" y="371"/>
                    <a:pt x="53" y="375"/>
                  </a:cubicBezTo>
                  <a:cubicBezTo>
                    <a:pt x="49" y="380"/>
                    <a:pt x="48" y="380"/>
                    <a:pt x="46" y="386"/>
                  </a:cubicBezTo>
                  <a:cubicBezTo>
                    <a:pt x="48" y="365"/>
                    <a:pt x="60" y="328"/>
                    <a:pt x="38" y="315"/>
                  </a:cubicBezTo>
                  <a:cubicBezTo>
                    <a:pt x="37" y="309"/>
                    <a:pt x="36" y="307"/>
                    <a:pt x="31" y="303"/>
                  </a:cubicBezTo>
                  <a:cubicBezTo>
                    <a:pt x="27" y="297"/>
                    <a:pt x="25" y="296"/>
                    <a:pt x="28" y="289"/>
                  </a:cubicBezTo>
                  <a:cubicBezTo>
                    <a:pt x="29" y="280"/>
                    <a:pt x="29" y="273"/>
                    <a:pt x="26" y="265"/>
                  </a:cubicBezTo>
                  <a:cubicBezTo>
                    <a:pt x="25" y="254"/>
                    <a:pt x="25" y="241"/>
                    <a:pt x="20" y="231"/>
                  </a:cubicBezTo>
                  <a:cubicBezTo>
                    <a:pt x="18" y="220"/>
                    <a:pt x="13" y="208"/>
                    <a:pt x="4" y="201"/>
                  </a:cubicBezTo>
                  <a:cubicBezTo>
                    <a:pt x="0" y="192"/>
                    <a:pt x="4" y="186"/>
                    <a:pt x="11" y="180"/>
                  </a:cubicBezTo>
                  <a:cubicBezTo>
                    <a:pt x="19" y="161"/>
                    <a:pt x="0" y="121"/>
                    <a:pt x="22" y="117"/>
                  </a:cubicBezTo>
                  <a:cubicBezTo>
                    <a:pt x="25" y="112"/>
                    <a:pt x="19" y="101"/>
                    <a:pt x="22" y="96"/>
                  </a:cubicBezTo>
                  <a:cubicBezTo>
                    <a:pt x="25" y="82"/>
                    <a:pt x="48" y="80"/>
                    <a:pt x="61" y="78"/>
                  </a:cubicBezTo>
                  <a:cubicBezTo>
                    <a:pt x="67" y="75"/>
                    <a:pt x="69" y="69"/>
                    <a:pt x="75" y="68"/>
                  </a:cubicBezTo>
                  <a:cubicBezTo>
                    <a:pt x="83" y="64"/>
                    <a:pt x="98" y="62"/>
                    <a:pt x="106" y="60"/>
                  </a:cubicBezTo>
                  <a:cubicBezTo>
                    <a:pt x="110" y="58"/>
                    <a:pt x="115" y="57"/>
                    <a:pt x="119" y="55"/>
                  </a:cubicBezTo>
                  <a:cubicBezTo>
                    <a:pt x="124" y="49"/>
                    <a:pt x="128" y="41"/>
                    <a:pt x="135" y="37"/>
                  </a:cubicBezTo>
                  <a:cubicBezTo>
                    <a:pt x="140" y="28"/>
                    <a:pt x="153" y="23"/>
                    <a:pt x="163" y="21"/>
                  </a:cubicBezTo>
                  <a:cubicBezTo>
                    <a:pt x="169" y="17"/>
                    <a:pt x="174" y="13"/>
                    <a:pt x="181" y="12"/>
                  </a:cubicBezTo>
                  <a:cubicBezTo>
                    <a:pt x="187" y="9"/>
                    <a:pt x="194" y="7"/>
                    <a:pt x="200" y="6"/>
                  </a:cubicBezTo>
                  <a:cubicBezTo>
                    <a:pt x="215" y="0"/>
                    <a:pt x="232" y="7"/>
                    <a:pt x="247" y="10"/>
                  </a:cubicBezTo>
                  <a:cubicBezTo>
                    <a:pt x="253" y="13"/>
                    <a:pt x="256" y="11"/>
                    <a:pt x="257" y="18"/>
                  </a:cubicBezTo>
                  <a:cubicBezTo>
                    <a:pt x="251" y="22"/>
                    <a:pt x="248" y="22"/>
                    <a:pt x="247" y="30"/>
                  </a:cubicBezTo>
                  <a:cubicBezTo>
                    <a:pt x="254" y="35"/>
                    <a:pt x="252" y="44"/>
                    <a:pt x="260" y="48"/>
                  </a:cubicBezTo>
                  <a:cubicBezTo>
                    <a:pt x="268" y="46"/>
                    <a:pt x="275" y="44"/>
                    <a:pt x="283" y="42"/>
                  </a:cubicBezTo>
                  <a:cubicBezTo>
                    <a:pt x="291" y="38"/>
                    <a:pt x="300" y="36"/>
                    <a:pt x="308" y="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2" name="Freeform 27"/>
            <p:cNvSpPr>
              <a:spLocks/>
            </p:cNvSpPr>
            <p:nvPr/>
          </p:nvSpPr>
          <p:spPr bwMode="auto">
            <a:xfrm>
              <a:off x="1040864" y="3591605"/>
              <a:ext cx="893623" cy="419017"/>
            </a:xfrm>
            <a:custGeom>
              <a:avLst/>
              <a:gdLst>
                <a:gd name="T0" fmla="*/ 2147483647 w 286"/>
                <a:gd name="T1" fmla="*/ 2147483647 h 167"/>
                <a:gd name="T2" fmla="*/ 2147483647 w 286"/>
                <a:gd name="T3" fmla="*/ 2147483647 h 167"/>
                <a:gd name="T4" fmla="*/ 2147483647 w 286"/>
                <a:gd name="T5" fmla="*/ 2147483647 h 167"/>
                <a:gd name="T6" fmla="*/ 2147483647 w 286"/>
                <a:gd name="T7" fmla="*/ 2147483647 h 167"/>
                <a:gd name="T8" fmla="*/ 2147483647 w 286"/>
                <a:gd name="T9" fmla="*/ 2147483647 h 167"/>
                <a:gd name="T10" fmla="*/ 2147483647 w 286"/>
                <a:gd name="T11" fmla="*/ 2147483647 h 167"/>
                <a:gd name="T12" fmla="*/ 2147483647 w 286"/>
                <a:gd name="T13" fmla="*/ 2147483647 h 167"/>
                <a:gd name="T14" fmla="*/ 2147483647 w 286"/>
                <a:gd name="T15" fmla="*/ 2147483647 h 167"/>
                <a:gd name="T16" fmla="*/ 2147483647 w 286"/>
                <a:gd name="T17" fmla="*/ 2147483647 h 167"/>
                <a:gd name="T18" fmla="*/ 2147483647 w 286"/>
                <a:gd name="T19" fmla="*/ 2147483647 h 167"/>
                <a:gd name="T20" fmla="*/ 2147483647 w 286"/>
                <a:gd name="T21" fmla="*/ 2147483647 h 167"/>
                <a:gd name="T22" fmla="*/ 2147483647 w 286"/>
                <a:gd name="T23" fmla="*/ 2147483647 h 167"/>
                <a:gd name="T24" fmla="*/ 2147483647 w 286"/>
                <a:gd name="T25" fmla="*/ 0 h 167"/>
                <a:gd name="T26" fmla="*/ 2147483647 w 286"/>
                <a:gd name="T27" fmla="*/ 2147483647 h 167"/>
                <a:gd name="T28" fmla="*/ 2147483647 w 286"/>
                <a:gd name="T29" fmla="*/ 2147483647 h 167"/>
                <a:gd name="T30" fmla="*/ 2147483647 w 286"/>
                <a:gd name="T31" fmla="*/ 2147483647 h 167"/>
                <a:gd name="T32" fmla="*/ 2147483647 w 286"/>
                <a:gd name="T33" fmla="*/ 2147483647 h 167"/>
                <a:gd name="T34" fmla="*/ 2147483647 w 286"/>
                <a:gd name="T35" fmla="*/ 2147483647 h 167"/>
                <a:gd name="T36" fmla="*/ 2147483647 w 286"/>
                <a:gd name="T37" fmla="*/ 2147483647 h 167"/>
                <a:gd name="T38" fmla="*/ 2147483647 w 286"/>
                <a:gd name="T39" fmla="*/ 2147483647 h 167"/>
                <a:gd name="T40" fmla="*/ 2147483647 w 286"/>
                <a:gd name="T41" fmla="*/ 2147483647 h 167"/>
                <a:gd name="T42" fmla="*/ 0 w 286"/>
                <a:gd name="T43" fmla="*/ 2147483647 h 167"/>
                <a:gd name="T44" fmla="*/ 2147483647 w 286"/>
                <a:gd name="T45" fmla="*/ 2147483647 h 167"/>
                <a:gd name="T46" fmla="*/ 2147483647 w 286"/>
                <a:gd name="T47" fmla="*/ 2147483647 h 167"/>
                <a:gd name="T48" fmla="*/ 2147483647 w 286"/>
                <a:gd name="T49" fmla="*/ 2147483647 h 167"/>
                <a:gd name="T50" fmla="*/ 2147483647 w 286"/>
                <a:gd name="T51" fmla="*/ 2147483647 h 167"/>
                <a:gd name="T52" fmla="*/ 2147483647 w 286"/>
                <a:gd name="T53" fmla="*/ 2147483647 h 167"/>
                <a:gd name="T54" fmla="*/ 2147483647 w 286"/>
                <a:gd name="T55" fmla="*/ 2147483647 h 167"/>
                <a:gd name="T56" fmla="*/ 2147483647 w 286"/>
                <a:gd name="T57" fmla="*/ 2147483647 h 167"/>
                <a:gd name="T58" fmla="*/ 2147483647 w 286"/>
                <a:gd name="T59" fmla="*/ 2147483647 h 167"/>
                <a:gd name="T60" fmla="*/ 2147483647 w 286"/>
                <a:gd name="T61" fmla="*/ 2147483647 h 167"/>
                <a:gd name="T62" fmla="*/ 2147483647 w 286"/>
                <a:gd name="T63" fmla="*/ 2147483647 h 167"/>
                <a:gd name="T64" fmla="*/ 2147483647 w 286"/>
                <a:gd name="T65" fmla="*/ 2147483647 h 167"/>
                <a:gd name="T66" fmla="*/ 2147483647 w 286"/>
                <a:gd name="T67" fmla="*/ 2147483647 h 167"/>
                <a:gd name="T68" fmla="*/ 2147483647 w 286"/>
                <a:gd name="T69" fmla="*/ 2147483647 h 167"/>
                <a:gd name="T70" fmla="*/ 2147483647 w 286"/>
                <a:gd name="T71" fmla="*/ 2147483647 h 167"/>
                <a:gd name="T72" fmla="*/ 2147483647 w 286"/>
                <a:gd name="T73" fmla="*/ 2147483647 h 167"/>
                <a:gd name="T74" fmla="*/ 2147483647 w 286"/>
                <a:gd name="T75" fmla="*/ 2147483647 h 167"/>
                <a:gd name="T76" fmla="*/ 2147483647 w 286"/>
                <a:gd name="T77" fmla="*/ 2147483647 h 167"/>
                <a:gd name="T78" fmla="*/ 2147483647 w 286"/>
                <a:gd name="T79" fmla="*/ 2147483647 h 167"/>
                <a:gd name="T80" fmla="*/ 2147483647 w 286"/>
                <a:gd name="T81" fmla="*/ 2147483647 h 167"/>
                <a:gd name="T82" fmla="*/ 2147483647 w 286"/>
                <a:gd name="T83" fmla="*/ 2147483647 h 167"/>
                <a:gd name="T84" fmla="*/ 2147483647 w 286"/>
                <a:gd name="T85" fmla="*/ 2147483647 h 167"/>
                <a:gd name="T86" fmla="*/ 2147483647 w 286"/>
                <a:gd name="T87" fmla="*/ 2147483647 h 167"/>
                <a:gd name="T88" fmla="*/ 2147483647 w 286"/>
                <a:gd name="T89" fmla="*/ 2147483647 h 167"/>
                <a:gd name="T90" fmla="*/ 2147483647 w 286"/>
                <a:gd name="T91" fmla="*/ 2147483647 h 167"/>
                <a:gd name="T92" fmla="*/ 2147483647 w 286"/>
                <a:gd name="T93" fmla="*/ 2147483647 h 167"/>
                <a:gd name="T94" fmla="*/ 2147483647 w 286"/>
                <a:gd name="T95" fmla="*/ 2147483647 h 167"/>
                <a:gd name="T96" fmla="*/ 2147483647 w 286"/>
                <a:gd name="T97" fmla="*/ 2147483647 h 167"/>
                <a:gd name="T98" fmla="*/ 2147483647 w 286"/>
                <a:gd name="T99" fmla="*/ 2147483647 h 167"/>
                <a:gd name="T100" fmla="*/ 2147483647 w 286"/>
                <a:gd name="T101" fmla="*/ 2147483647 h 167"/>
                <a:gd name="T102" fmla="*/ 2147483647 w 286"/>
                <a:gd name="T103" fmla="*/ 2147483647 h 167"/>
                <a:gd name="T104" fmla="*/ 2147483647 w 286"/>
                <a:gd name="T105" fmla="*/ 2147483647 h 167"/>
                <a:gd name="T106" fmla="*/ 2147483647 w 286"/>
                <a:gd name="T107" fmla="*/ 2147483647 h 167"/>
                <a:gd name="T108" fmla="*/ 2147483647 w 286"/>
                <a:gd name="T109" fmla="*/ 2147483647 h 167"/>
                <a:gd name="T110" fmla="*/ 2147483647 w 286"/>
                <a:gd name="T111" fmla="*/ 2147483647 h 16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6"/>
                <a:gd name="T169" fmla="*/ 0 h 167"/>
                <a:gd name="T170" fmla="*/ 286 w 286"/>
                <a:gd name="T171" fmla="*/ 167 h 16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6" h="167">
                  <a:moveTo>
                    <a:pt x="285" y="82"/>
                  </a:moveTo>
                  <a:lnTo>
                    <a:pt x="279" y="78"/>
                  </a:lnTo>
                  <a:lnTo>
                    <a:pt x="270" y="83"/>
                  </a:lnTo>
                  <a:lnTo>
                    <a:pt x="261" y="74"/>
                  </a:lnTo>
                  <a:lnTo>
                    <a:pt x="249" y="74"/>
                  </a:lnTo>
                  <a:lnTo>
                    <a:pt x="240" y="58"/>
                  </a:lnTo>
                  <a:lnTo>
                    <a:pt x="240" y="35"/>
                  </a:lnTo>
                  <a:lnTo>
                    <a:pt x="240" y="20"/>
                  </a:lnTo>
                  <a:lnTo>
                    <a:pt x="223" y="15"/>
                  </a:lnTo>
                  <a:lnTo>
                    <a:pt x="207" y="5"/>
                  </a:lnTo>
                  <a:lnTo>
                    <a:pt x="192" y="2"/>
                  </a:lnTo>
                  <a:lnTo>
                    <a:pt x="117" y="9"/>
                  </a:lnTo>
                  <a:lnTo>
                    <a:pt x="109" y="0"/>
                  </a:lnTo>
                  <a:lnTo>
                    <a:pt x="102" y="5"/>
                  </a:lnTo>
                  <a:lnTo>
                    <a:pt x="93" y="9"/>
                  </a:lnTo>
                  <a:lnTo>
                    <a:pt x="77" y="5"/>
                  </a:lnTo>
                  <a:lnTo>
                    <a:pt x="68" y="8"/>
                  </a:lnTo>
                  <a:lnTo>
                    <a:pt x="69" y="24"/>
                  </a:lnTo>
                  <a:lnTo>
                    <a:pt x="34" y="50"/>
                  </a:lnTo>
                  <a:lnTo>
                    <a:pt x="34" y="65"/>
                  </a:lnTo>
                  <a:lnTo>
                    <a:pt x="2" y="92"/>
                  </a:lnTo>
                  <a:lnTo>
                    <a:pt x="0" y="119"/>
                  </a:lnTo>
                  <a:lnTo>
                    <a:pt x="6" y="132"/>
                  </a:lnTo>
                  <a:lnTo>
                    <a:pt x="14" y="117"/>
                  </a:lnTo>
                  <a:lnTo>
                    <a:pt x="22" y="104"/>
                  </a:lnTo>
                  <a:lnTo>
                    <a:pt x="47" y="104"/>
                  </a:lnTo>
                  <a:lnTo>
                    <a:pt x="48" y="121"/>
                  </a:lnTo>
                  <a:lnTo>
                    <a:pt x="43" y="138"/>
                  </a:lnTo>
                  <a:lnTo>
                    <a:pt x="51" y="146"/>
                  </a:lnTo>
                  <a:lnTo>
                    <a:pt x="59" y="146"/>
                  </a:lnTo>
                  <a:lnTo>
                    <a:pt x="69" y="152"/>
                  </a:lnTo>
                  <a:lnTo>
                    <a:pt x="89" y="154"/>
                  </a:lnTo>
                  <a:lnTo>
                    <a:pt x="105" y="157"/>
                  </a:lnTo>
                  <a:lnTo>
                    <a:pt x="115" y="158"/>
                  </a:lnTo>
                  <a:lnTo>
                    <a:pt x="125" y="147"/>
                  </a:lnTo>
                  <a:lnTo>
                    <a:pt x="133" y="139"/>
                  </a:lnTo>
                  <a:lnTo>
                    <a:pt x="134" y="127"/>
                  </a:lnTo>
                  <a:lnTo>
                    <a:pt x="144" y="122"/>
                  </a:lnTo>
                  <a:lnTo>
                    <a:pt x="155" y="118"/>
                  </a:lnTo>
                  <a:lnTo>
                    <a:pt x="161" y="131"/>
                  </a:lnTo>
                  <a:lnTo>
                    <a:pt x="161" y="142"/>
                  </a:lnTo>
                  <a:lnTo>
                    <a:pt x="186" y="167"/>
                  </a:lnTo>
                  <a:lnTo>
                    <a:pt x="194" y="159"/>
                  </a:lnTo>
                  <a:lnTo>
                    <a:pt x="199" y="147"/>
                  </a:lnTo>
                  <a:lnTo>
                    <a:pt x="205" y="130"/>
                  </a:lnTo>
                  <a:lnTo>
                    <a:pt x="216" y="119"/>
                  </a:lnTo>
                  <a:lnTo>
                    <a:pt x="227" y="126"/>
                  </a:lnTo>
                  <a:lnTo>
                    <a:pt x="236" y="129"/>
                  </a:lnTo>
                  <a:lnTo>
                    <a:pt x="249" y="131"/>
                  </a:lnTo>
                  <a:lnTo>
                    <a:pt x="264" y="136"/>
                  </a:lnTo>
                  <a:lnTo>
                    <a:pt x="269" y="129"/>
                  </a:lnTo>
                  <a:lnTo>
                    <a:pt x="263" y="118"/>
                  </a:lnTo>
                  <a:lnTo>
                    <a:pt x="264" y="109"/>
                  </a:lnTo>
                  <a:lnTo>
                    <a:pt x="276" y="105"/>
                  </a:lnTo>
                  <a:lnTo>
                    <a:pt x="286" y="106"/>
                  </a:lnTo>
                  <a:lnTo>
                    <a:pt x="285" y="82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3" name="Freeform 28"/>
            <p:cNvSpPr>
              <a:spLocks/>
            </p:cNvSpPr>
            <p:nvPr/>
          </p:nvSpPr>
          <p:spPr bwMode="auto">
            <a:xfrm>
              <a:off x="3946926" y="5505222"/>
              <a:ext cx="92938" cy="98979"/>
            </a:xfrm>
            <a:custGeom>
              <a:avLst/>
              <a:gdLst>
                <a:gd name="T0" fmla="*/ 2147483647 w 29"/>
                <a:gd name="T1" fmla="*/ 2147483647 h 38"/>
                <a:gd name="T2" fmla="*/ 2147483647 w 29"/>
                <a:gd name="T3" fmla="*/ 2147483647 h 38"/>
                <a:gd name="T4" fmla="*/ 2147483647 w 29"/>
                <a:gd name="T5" fmla="*/ 2147483647 h 38"/>
                <a:gd name="T6" fmla="*/ 2147483647 w 29"/>
                <a:gd name="T7" fmla="*/ 2147483647 h 38"/>
                <a:gd name="T8" fmla="*/ 2147483647 w 29"/>
                <a:gd name="T9" fmla="*/ 0 h 38"/>
                <a:gd name="T10" fmla="*/ 0 w 29"/>
                <a:gd name="T11" fmla="*/ 2147483647 h 38"/>
                <a:gd name="T12" fmla="*/ 2147483647 w 29"/>
                <a:gd name="T13" fmla="*/ 2147483647 h 38"/>
                <a:gd name="T14" fmla="*/ 2147483647 w 29"/>
                <a:gd name="T15" fmla="*/ 2147483647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9"/>
                <a:gd name="T25" fmla="*/ 0 h 38"/>
                <a:gd name="T26" fmla="*/ 29 w 29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9" h="38">
                  <a:moveTo>
                    <a:pt x="18" y="38"/>
                  </a:moveTo>
                  <a:lnTo>
                    <a:pt x="29" y="35"/>
                  </a:lnTo>
                  <a:lnTo>
                    <a:pt x="27" y="22"/>
                  </a:lnTo>
                  <a:lnTo>
                    <a:pt x="16" y="6"/>
                  </a:lnTo>
                  <a:lnTo>
                    <a:pt x="8" y="0"/>
                  </a:lnTo>
                  <a:lnTo>
                    <a:pt x="0" y="6"/>
                  </a:lnTo>
                  <a:lnTo>
                    <a:pt x="7" y="22"/>
                  </a:lnTo>
                  <a:lnTo>
                    <a:pt x="18" y="38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4" name="Freeform 29"/>
            <p:cNvSpPr>
              <a:spLocks/>
            </p:cNvSpPr>
            <p:nvPr/>
          </p:nvSpPr>
          <p:spPr bwMode="auto">
            <a:xfrm>
              <a:off x="4136377" y="5831858"/>
              <a:ext cx="92938" cy="69286"/>
            </a:xfrm>
            <a:custGeom>
              <a:avLst/>
              <a:gdLst>
                <a:gd name="T0" fmla="*/ 2147483647 w 31"/>
                <a:gd name="T1" fmla="*/ 2147483647 h 27"/>
                <a:gd name="T2" fmla="*/ 2147483647 w 31"/>
                <a:gd name="T3" fmla="*/ 2147483647 h 27"/>
                <a:gd name="T4" fmla="*/ 2147483647 w 31"/>
                <a:gd name="T5" fmla="*/ 2147483647 h 27"/>
                <a:gd name="T6" fmla="*/ 2147483647 w 31"/>
                <a:gd name="T7" fmla="*/ 2147483647 h 27"/>
                <a:gd name="T8" fmla="*/ 2147483647 w 31"/>
                <a:gd name="T9" fmla="*/ 2147483647 h 27"/>
                <a:gd name="T10" fmla="*/ 2147483647 w 31"/>
                <a:gd name="T11" fmla="*/ 0 h 27"/>
                <a:gd name="T12" fmla="*/ 2147483647 w 31"/>
                <a:gd name="T13" fmla="*/ 2147483647 h 27"/>
                <a:gd name="T14" fmla="*/ 0 w 31"/>
                <a:gd name="T15" fmla="*/ 2147483647 h 27"/>
                <a:gd name="T16" fmla="*/ 2147483647 w 31"/>
                <a:gd name="T17" fmla="*/ 2147483647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27"/>
                <a:gd name="T29" fmla="*/ 31 w 31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27">
                  <a:moveTo>
                    <a:pt x="10" y="27"/>
                  </a:moveTo>
                  <a:lnTo>
                    <a:pt x="25" y="26"/>
                  </a:lnTo>
                  <a:lnTo>
                    <a:pt x="31" y="20"/>
                  </a:lnTo>
                  <a:lnTo>
                    <a:pt x="24" y="13"/>
                  </a:lnTo>
                  <a:lnTo>
                    <a:pt x="19" y="1"/>
                  </a:lnTo>
                  <a:lnTo>
                    <a:pt x="13" y="0"/>
                  </a:lnTo>
                  <a:lnTo>
                    <a:pt x="5" y="7"/>
                  </a:lnTo>
                  <a:lnTo>
                    <a:pt x="0" y="19"/>
                  </a:lnTo>
                  <a:lnTo>
                    <a:pt x="10" y="27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5" name="Freeform 30"/>
            <p:cNvSpPr>
              <a:spLocks/>
            </p:cNvSpPr>
            <p:nvPr/>
          </p:nvSpPr>
          <p:spPr bwMode="auto">
            <a:xfrm>
              <a:off x="4075610" y="4917938"/>
              <a:ext cx="1372608" cy="1045893"/>
            </a:xfrm>
            <a:custGeom>
              <a:avLst/>
              <a:gdLst>
                <a:gd name="T0" fmla="*/ 2147483647 w 439"/>
                <a:gd name="T1" fmla="*/ 0 h 411"/>
                <a:gd name="T2" fmla="*/ 2147483647 w 439"/>
                <a:gd name="T3" fmla="*/ 2147483647 h 411"/>
                <a:gd name="T4" fmla="*/ 2147483647 w 439"/>
                <a:gd name="T5" fmla="*/ 2147483647 h 411"/>
                <a:gd name="T6" fmla="*/ 2147483647 w 439"/>
                <a:gd name="T7" fmla="*/ 2147483647 h 411"/>
                <a:gd name="T8" fmla="*/ 2147483647 w 439"/>
                <a:gd name="T9" fmla="*/ 2147483647 h 411"/>
                <a:gd name="T10" fmla="*/ 2147483647 w 439"/>
                <a:gd name="T11" fmla="*/ 2147483647 h 411"/>
                <a:gd name="T12" fmla="*/ 2147483647 w 439"/>
                <a:gd name="T13" fmla="*/ 2147483647 h 411"/>
                <a:gd name="T14" fmla="*/ 2147483647 w 439"/>
                <a:gd name="T15" fmla="*/ 2147483647 h 411"/>
                <a:gd name="T16" fmla="*/ 2147483647 w 439"/>
                <a:gd name="T17" fmla="*/ 2147483647 h 411"/>
                <a:gd name="T18" fmla="*/ 2147483647 w 439"/>
                <a:gd name="T19" fmla="*/ 2147483647 h 411"/>
                <a:gd name="T20" fmla="*/ 2147483647 w 439"/>
                <a:gd name="T21" fmla="*/ 2147483647 h 411"/>
                <a:gd name="T22" fmla="*/ 2147483647 w 439"/>
                <a:gd name="T23" fmla="*/ 2147483647 h 411"/>
                <a:gd name="T24" fmla="*/ 2147483647 w 439"/>
                <a:gd name="T25" fmla="*/ 2147483647 h 411"/>
                <a:gd name="T26" fmla="*/ 2147483647 w 439"/>
                <a:gd name="T27" fmla="*/ 2147483647 h 411"/>
                <a:gd name="T28" fmla="*/ 2147483647 w 439"/>
                <a:gd name="T29" fmla="*/ 2147483647 h 411"/>
                <a:gd name="T30" fmla="*/ 2147483647 w 439"/>
                <a:gd name="T31" fmla="*/ 2147483647 h 411"/>
                <a:gd name="T32" fmla="*/ 2147483647 w 439"/>
                <a:gd name="T33" fmla="*/ 2147483647 h 411"/>
                <a:gd name="T34" fmla="*/ 2147483647 w 439"/>
                <a:gd name="T35" fmla="*/ 2147483647 h 411"/>
                <a:gd name="T36" fmla="*/ 2147483647 w 439"/>
                <a:gd name="T37" fmla="*/ 2147483647 h 411"/>
                <a:gd name="T38" fmla="*/ 2147483647 w 439"/>
                <a:gd name="T39" fmla="*/ 2147483647 h 411"/>
                <a:gd name="T40" fmla="*/ 2147483647 w 439"/>
                <a:gd name="T41" fmla="*/ 2147483647 h 411"/>
                <a:gd name="T42" fmla="*/ 2147483647 w 439"/>
                <a:gd name="T43" fmla="*/ 2147483647 h 411"/>
                <a:gd name="T44" fmla="*/ 2147483647 w 439"/>
                <a:gd name="T45" fmla="*/ 2147483647 h 411"/>
                <a:gd name="T46" fmla="*/ 2147483647 w 439"/>
                <a:gd name="T47" fmla="*/ 2147483647 h 411"/>
                <a:gd name="T48" fmla="*/ 2147483647 w 439"/>
                <a:gd name="T49" fmla="*/ 2147483647 h 411"/>
                <a:gd name="T50" fmla="*/ 2147483647 w 439"/>
                <a:gd name="T51" fmla="*/ 2147483647 h 411"/>
                <a:gd name="T52" fmla="*/ 2147483647 w 439"/>
                <a:gd name="T53" fmla="*/ 2147483647 h 411"/>
                <a:gd name="T54" fmla="*/ 2147483647 w 439"/>
                <a:gd name="T55" fmla="*/ 2147483647 h 411"/>
                <a:gd name="T56" fmla="*/ 2147483647 w 439"/>
                <a:gd name="T57" fmla="*/ 2147483647 h 411"/>
                <a:gd name="T58" fmla="*/ 2147483647 w 439"/>
                <a:gd name="T59" fmla="*/ 2147483647 h 411"/>
                <a:gd name="T60" fmla="*/ 2147483647 w 439"/>
                <a:gd name="T61" fmla="*/ 2147483647 h 411"/>
                <a:gd name="T62" fmla="*/ 2147483647 w 439"/>
                <a:gd name="T63" fmla="*/ 2147483647 h 411"/>
                <a:gd name="T64" fmla="*/ 2147483647 w 439"/>
                <a:gd name="T65" fmla="*/ 2147483647 h 411"/>
                <a:gd name="T66" fmla="*/ 2147483647 w 439"/>
                <a:gd name="T67" fmla="*/ 2147483647 h 411"/>
                <a:gd name="T68" fmla="*/ 2147483647 w 439"/>
                <a:gd name="T69" fmla="*/ 2147483647 h 411"/>
                <a:gd name="T70" fmla="*/ 2147483647 w 439"/>
                <a:gd name="T71" fmla="*/ 2147483647 h 411"/>
                <a:gd name="T72" fmla="*/ 2147483647 w 439"/>
                <a:gd name="T73" fmla="*/ 2147483647 h 411"/>
                <a:gd name="T74" fmla="*/ 2147483647 w 439"/>
                <a:gd name="T75" fmla="*/ 2147483647 h 411"/>
                <a:gd name="T76" fmla="*/ 2147483647 w 439"/>
                <a:gd name="T77" fmla="*/ 2147483647 h 411"/>
                <a:gd name="T78" fmla="*/ 2147483647 w 439"/>
                <a:gd name="T79" fmla="*/ 2147483647 h 411"/>
                <a:gd name="T80" fmla="*/ 2147483647 w 439"/>
                <a:gd name="T81" fmla="*/ 2147483647 h 411"/>
                <a:gd name="T82" fmla="*/ 2147483647 w 439"/>
                <a:gd name="T83" fmla="*/ 2147483647 h 411"/>
                <a:gd name="T84" fmla="*/ 2147483647 w 439"/>
                <a:gd name="T85" fmla="*/ 2147483647 h 411"/>
                <a:gd name="T86" fmla="*/ 2147483647 w 439"/>
                <a:gd name="T87" fmla="*/ 2147483647 h 411"/>
                <a:gd name="T88" fmla="*/ 2147483647 w 439"/>
                <a:gd name="T89" fmla="*/ 2147483647 h 411"/>
                <a:gd name="T90" fmla="*/ 2147483647 w 439"/>
                <a:gd name="T91" fmla="*/ 2147483647 h 411"/>
                <a:gd name="T92" fmla="*/ 2147483647 w 439"/>
                <a:gd name="T93" fmla="*/ 2147483647 h 411"/>
                <a:gd name="T94" fmla="*/ 2147483647 w 439"/>
                <a:gd name="T95" fmla="*/ 2147483647 h 411"/>
                <a:gd name="T96" fmla="*/ 2147483647 w 439"/>
                <a:gd name="T97" fmla="*/ 2147483647 h 411"/>
                <a:gd name="T98" fmla="*/ 2147483647 w 439"/>
                <a:gd name="T99" fmla="*/ 2147483647 h 411"/>
                <a:gd name="T100" fmla="*/ 0 w 439"/>
                <a:gd name="T101" fmla="*/ 2147483647 h 411"/>
                <a:gd name="T102" fmla="*/ 2147483647 w 439"/>
                <a:gd name="T103" fmla="*/ 2147483647 h 411"/>
                <a:gd name="T104" fmla="*/ 2147483647 w 439"/>
                <a:gd name="T105" fmla="*/ 2147483647 h 411"/>
                <a:gd name="T106" fmla="*/ 2147483647 w 439"/>
                <a:gd name="T107" fmla="*/ 2147483647 h 411"/>
                <a:gd name="T108" fmla="*/ 2147483647 w 439"/>
                <a:gd name="T109" fmla="*/ 2147483647 h 411"/>
                <a:gd name="T110" fmla="*/ 2147483647 w 439"/>
                <a:gd name="T111" fmla="*/ 2147483647 h 411"/>
                <a:gd name="T112" fmla="*/ 2147483647 w 439"/>
                <a:gd name="T113" fmla="*/ 2147483647 h 411"/>
                <a:gd name="T114" fmla="*/ 2147483647 w 439"/>
                <a:gd name="T115" fmla="*/ 2147483647 h 411"/>
                <a:gd name="T116" fmla="*/ 2147483647 w 439"/>
                <a:gd name="T117" fmla="*/ 2147483647 h 411"/>
                <a:gd name="T118" fmla="*/ 2147483647 w 439"/>
                <a:gd name="T119" fmla="*/ 2147483647 h 411"/>
                <a:gd name="T120" fmla="*/ 2147483647 w 439"/>
                <a:gd name="T121" fmla="*/ 2147483647 h 411"/>
                <a:gd name="T122" fmla="*/ 2147483647 w 439"/>
                <a:gd name="T123" fmla="*/ 2147483647 h 411"/>
                <a:gd name="T124" fmla="*/ 2147483647 w 439"/>
                <a:gd name="T125" fmla="*/ 2147483647 h 41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39"/>
                <a:gd name="T190" fmla="*/ 0 h 411"/>
                <a:gd name="T191" fmla="*/ 439 w 439"/>
                <a:gd name="T192" fmla="*/ 411 h 41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39" h="411">
                  <a:moveTo>
                    <a:pt x="409" y="1"/>
                  </a:moveTo>
                  <a:lnTo>
                    <a:pt x="427" y="0"/>
                  </a:lnTo>
                  <a:lnTo>
                    <a:pt x="429" y="9"/>
                  </a:lnTo>
                  <a:lnTo>
                    <a:pt x="439" y="14"/>
                  </a:lnTo>
                  <a:lnTo>
                    <a:pt x="437" y="31"/>
                  </a:lnTo>
                  <a:lnTo>
                    <a:pt x="426" y="45"/>
                  </a:lnTo>
                  <a:lnTo>
                    <a:pt x="426" y="63"/>
                  </a:lnTo>
                  <a:lnTo>
                    <a:pt x="424" y="78"/>
                  </a:lnTo>
                  <a:lnTo>
                    <a:pt x="423" y="89"/>
                  </a:lnTo>
                  <a:lnTo>
                    <a:pt x="415" y="105"/>
                  </a:lnTo>
                  <a:lnTo>
                    <a:pt x="406" y="98"/>
                  </a:lnTo>
                  <a:lnTo>
                    <a:pt x="393" y="94"/>
                  </a:lnTo>
                  <a:lnTo>
                    <a:pt x="382" y="92"/>
                  </a:lnTo>
                  <a:lnTo>
                    <a:pt x="364" y="94"/>
                  </a:lnTo>
                  <a:lnTo>
                    <a:pt x="348" y="88"/>
                  </a:lnTo>
                  <a:lnTo>
                    <a:pt x="340" y="83"/>
                  </a:lnTo>
                  <a:lnTo>
                    <a:pt x="324" y="93"/>
                  </a:lnTo>
                  <a:lnTo>
                    <a:pt x="318" y="100"/>
                  </a:lnTo>
                  <a:lnTo>
                    <a:pt x="300" y="100"/>
                  </a:lnTo>
                  <a:lnTo>
                    <a:pt x="291" y="98"/>
                  </a:lnTo>
                  <a:lnTo>
                    <a:pt x="282" y="111"/>
                  </a:lnTo>
                  <a:lnTo>
                    <a:pt x="269" y="115"/>
                  </a:lnTo>
                  <a:lnTo>
                    <a:pt x="255" y="121"/>
                  </a:lnTo>
                  <a:lnTo>
                    <a:pt x="247" y="134"/>
                  </a:lnTo>
                  <a:lnTo>
                    <a:pt x="254" y="143"/>
                  </a:lnTo>
                  <a:lnTo>
                    <a:pt x="268" y="145"/>
                  </a:lnTo>
                  <a:lnTo>
                    <a:pt x="282" y="152"/>
                  </a:lnTo>
                  <a:lnTo>
                    <a:pt x="292" y="166"/>
                  </a:lnTo>
                  <a:lnTo>
                    <a:pt x="281" y="164"/>
                  </a:lnTo>
                  <a:lnTo>
                    <a:pt x="264" y="159"/>
                  </a:lnTo>
                  <a:lnTo>
                    <a:pt x="256" y="159"/>
                  </a:lnTo>
                  <a:lnTo>
                    <a:pt x="259" y="166"/>
                  </a:lnTo>
                  <a:lnTo>
                    <a:pt x="268" y="172"/>
                  </a:lnTo>
                  <a:lnTo>
                    <a:pt x="272" y="183"/>
                  </a:lnTo>
                  <a:lnTo>
                    <a:pt x="272" y="193"/>
                  </a:lnTo>
                  <a:lnTo>
                    <a:pt x="258" y="184"/>
                  </a:lnTo>
                  <a:lnTo>
                    <a:pt x="249" y="174"/>
                  </a:lnTo>
                  <a:lnTo>
                    <a:pt x="238" y="168"/>
                  </a:lnTo>
                  <a:lnTo>
                    <a:pt x="233" y="175"/>
                  </a:lnTo>
                  <a:lnTo>
                    <a:pt x="245" y="186"/>
                  </a:lnTo>
                  <a:lnTo>
                    <a:pt x="249" y="196"/>
                  </a:lnTo>
                  <a:lnTo>
                    <a:pt x="236" y="197"/>
                  </a:lnTo>
                  <a:lnTo>
                    <a:pt x="223" y="184"/>
                  </a:lnTo>
                  <a:lnTo>
                    <a:pt x="214" y="173"/>
                  </a:lnTo>
                  <a:lnTo>
                    <a:pt x="202" y="164"/>
                  </a:lnTo>
                  <a:lnTo>
                    <a:pt x="190" y="155"/>
                  </a:lnTo>
                  <a:lnTo>
                    <a:pt x="182" y="146"/>
                  </a:lnTo>
                  <a:lnTo>
                    <a:pt x="170" y="158"/>
                  </a:lnTo>
                  <a:lnTo>
                    <a:pt x="170" y="180"/>
                  </a:lnTo>
                  <a:lnTo>
                    <a:pt x="177" y="203"/>
                  </a:lnTo>
                  <a:lnTo>
                    <a:pt x="189" y="217"/>
                  </a:lnTo>
                  <a:lnTo>
                    <a:pt x="194" y="233"/>
                  </a:lnTo>
                  <a:lnTo>
                    <a:pt x="221" y="248"/>
                  </a:lnTo>
                  <a:lnTo>
                    <a:pt x="230" y="267"/>
                  </a:lnTo>
                  <a:lnTo>
                    <a:pt x="224" y="275"/>
                  </a:lnTo>
                  <a:lnTo>
                    <a:pt x="212" y="272"/>
                  </a:lnTo>
                  <a:lnTo>
                    <a:pt x="202" y="259"/>
                  </a:lnTo>
                  <a:lnTo>
                    <a:pt x="196" y="267"/>
                  </a:lnTo>
                  <a:lnTo>
                    <a:pt x="203" y="281"/>
                  </a:lnTo>
                  <a:lnTo>
                    <a:pt x="206" y="293"/>
                  </a:lnTo>
                  <a:lnTo>
                    <a:pt x="192" y="297"/>
                  </a:lnTo>
                  <a:lnTo>
                    <a:pt x="178" y="296"/>
                  </a:lnTo>
                  <a:lnTo>
                    <a:pt x="182" y="309"/>
                  </a:lnTo>
                  <a:lnTo>
                    <a:pt x="198" y="315"/>
                  </a:lnTo>
                  <a:lnTo>
                    <a:pt x="217" y="322"/>
                  </a:lnTo>
                  <a:lnTo>
                    <a:pt x="233" y="328"/>
                  </a:lnTo>
                  <a:lnTo>
                    <a:pt x="243" y="335"/>
                  </a:lnTo>
                  <a:lnTo>
                    <a:pt x="256" y="343"/>
                  </a:lnTo>
                  <a:lnTo>
                    <a:pt x="268" y="350"/>
                  </a:lnTo>
                  <a:lnTo>
                    <a:pt x="280" y="354"/>
                  </a:lnTo>
                  <a:lnTo>
                    <a:pt x="291" y="358"/>
                  </a:lnTo>
                  <a:lnTo>
                    <a:pt x="294" y="375"/>
                  </a:lnTo>
                  <a:lnTo>
                    <a:pt x="297" y="396"/>
                  </a:lnTo>
                  <a:lnTo>
                    <a:pt x="296" y="411"/>
                  </a:lnTo>
                  <a:lnTo>
                    <a:pt x="279" y="399"/>
                  </a:lnTo>
                  <a:lnTo>
                    <a:pt x="260" y="398"/>
                  </a:lnTo>
                  <a:lnTo>
                    <a:pt x="243" y="387"/>
                  </a:lnTo>
                  <a:lnTo>
                    <a:pt x="232" y="387"/>
                  </a:lnTo>
                  <a:lnTo>
                    <a:pt x="224" y="375"/>
                  </a:lnTo>
                  <a:lnTo>
                    <a:pt x="217" y="362"/>
                  </a:lnTo>
                  <a:lnTo>
                    <a:pt x="207" y="366"/>
                  </a:lnTo>
                  <a:lnTo>
                    <a:pt x="200" y="357"/>
                  </a:lnTo>
                  <a:lnTo>
                    <a:pt x="181" y="353"/>
                  </a:lnTo>
                  <a:lnTo>
                    <a:pt x="164" y="357"/>
                  </a:lnTo>
                  <a:lnTo>
                    <a:pt x="142" y="356"/>
                  </a:lnTo>
                  <a:lnTo>
                    <a:pt x="115" y="358"/>
                  </a:lnTo>
                  <a:lnTo>
                    <a:pt x="102" y="357"/>
                  </a:lnTo>
                  <a:lnTo>
                    <a:pt x="90" y="353"/>
                  </a:lnTo>
                  <a:lnTo>
                    <a:pt x="78" y="361"/>
                  </a:lnTo>
                  <a:lnTo>
                    <a:pt x="69" y="352"/>
                  </a:lnTo>
                  <a:lnTo>
                    <a:pt x="58" y="330"/>
                  </a:lnTo>
                  <a:lnTo>
                    <a:pt x="45" y="316"/>
                  </a:lnTo>
                  <a:lnTo>
                    <a:pt x="64" y="314"/>
                  </a:lnTo>
                  <a:lnTo>
                    <a:pt x="68" y="308"/>
                  </a:lnTo>
                  <a:lnTo>
                    <a:pt x="58" y="297"/>
                  </a:lnTo>
                  <a:lnTo>
                    <a:pt x="45" y="295"/>
                  </a:lnTo>
                  <a:lnTo>
                    <a:pt x="39" y="306"/>
                  </a:lnTo>
                  <a:lnTo>
                    <a:pt x="30" y="280"/>
                  </a:lnTo>
                  <a:lnTo>
                    <a:pt x="14" y="269"/>
                  </a:lnTo>
                  <a:lnTo>
                    <a:pt x="7" y="262"/>
                  </a:lnTo>
                  <a:lnTo>
                    <a:pt x="6" y="244"/>
                  </a:lnTo>
                  <a:lnTo>
                    <a:pt x="0" y="235"/>
                  </a:lnTo>
                  <a:lnTo>
                    <a:pt x="15" y="217"/>
                  </a:lnTo>
                  <a:lnTo>
                    <a:pt x="20" y="202"/>
                  </a:lnTo>
                  <a:lnTo>
                    <a:pt x="31" y="192"/>
                  </a:lnTo>
                  <a:lnTo>
                    <a:pt x="53" y="155"/>
                  </a:lnTo>
                  <a:lnTo>
                    <a:pt x="54" y="140"/>
                  </a:lnTo>
                  <a:lnTo>
                    <a:pt x="52" y="132"/>
                  </a:lnTo>
                  <a:lnTo>
                    <a:pt x="45" y="121"/>
                  </a:lnTo>
                  <a:lnTo>
                    <a:pt x="53" y="125"/>
                  </a:lnTo>
                  <a:lnTo>
                    <a:pt x="71" y="116"/>
                  </a:lnTo>
                  <a:lnTo>
                    <a:pt x="87" y="118"/>
                  </a:lnTo>
                  <a:lnTo>
                    <a:pt x="135" y="86"/>
                  </a:lnTo>
                  <a:lnTo>
                    <a:pt x="162" y="88"/>
                  </a:lnTo>
                  <a:lnTo>
                    <a:pt x="184" y="63"/>
                  </a:lnTo>
                  <a:lnTo>
                    <a:pt x="204" y="63"/>
                  </a:lnTo>
                  <a:lnTo>
                    <a:pt x="222" y="55"/>
                  </a:lnTo>
                  <a:lnTo>
                    <a:pt x="260" y="52"/>
                  </a:lnTo>
                  <a:lnTo>
                    <a:pt x="271" y="42"/>
                  </a:lnTo>
                  <a:lnTo>
                    <a:pt x="306" y="33"/>
                  </a:lnTo>
                  <a:lnTo>
                    <a:pt x="319" y="44"/>
                  </a:lnTo>
                  <a:lnTo>
                    <a:pt x="345" y="50"/>
                  </a:lnTo>
                  <a:lnTo>
                    <a:pt x="369" y="54"/>
                  </a:lnTo>
                  <a:lnTo>
                    <a:pt x="400" y="41"/>
                  </a:lnTo>
                  <a:lnTo>
                    <a:pt x="409" y="20"/>
                  </a:lnTo>
                  <a:lnTo>
                    <a:pt x="409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6" name="Oval 31"/>
            <p:cNvSpPr>
              <a:spLocks noChangeArrowheads="1"/>
            </p:cNvSpPr>
            <p:nvPr/>
          </p:nvSpPr>
          <p:spPr bwMode="auto">
            <a:xfrm>
              <a:off x="4865571" y="5887947"/>
              <a:ext cx="57191" cy="39592"/>
            </a:xfrm>
            <a:prstGeom prst="ellipse">
              <a:avLst/>
            </a:prstGeom>
            <a:solidFill>
              <a:srgbClr val="C5C5C5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7629" tIns="48813" rIns="97629" bIns="4881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7" name="Freeform 32"/>
            <p:cNvSpPr>
              <a:spLocks/>
            </p:cNvSpPr>
            <p:nvPr/>
          </p:nvSpPr>
          <p:spPr bwMode="auto">
            <a:xfrm>
              <a:off x="4726170" y="5650391"/>
              <a:ext cx="403917" cy="240854"/>
            </a:xfrm>
            <a:custGeom>
              <a:avLst/>
              <a:gdLst>
                <a:gd name="T0" fmla="*/ 0 w 129"/>
                <a:gd name="T1" fmla="*/ 2147483647 h 95"/>
                <a:gd name="T2" fmla="*/ 2147483647 w 129"/>
                <a:gd name="T3" fmla="*/ 2147483647 h 95"/>
                <a:gd name="T4" fmla="*/ 2147483647 w 129"/>
                <a:gd name="T5" fmla="*/ 2147483647 h 95"/>
                <a:gd name="T6" fmla="*/ 2147483647 w 129"/>
                <a:gd name="T7" fmla="*/ 2147483647 h 95"/>
                <a:gd name="T8" fmla="*/ 2147483647 w 129"/>
                <a:gd name="T9" fmla="*/ 2147483647 h 95"/>
                <a:gd name="T10" fmla="*/ 2147483647 w 129"/>
                <a:gd name="T11" fmla="*/ 2147483647 h 95"/>
                <a:gd name="T12" fmla="*/ 2147483647 w 129"/>
                <a:gd name="T13" fmla="*/ 2147483647 h 95"/>
                <a:gd name="T14" fmla="*/ 2147483647 w 129"/>
                <a:gd name="T15" fmla="*/ 2147483647 h 95"/>
                <a:gd name="T16" fmla="*/ 2147483647 w 129"/>
                <a:gd name="T17" fmla="*/ 2147483647 h 95"/>
                <a:gd name="T18" fmla="*/ 2147483647 w 129"/>
                <a:gd name="T19" fmla="*/ 2147483647 h 95"/>
                <a:gd name="T20" fmla="*/ 2147483647 w 129"/>
                <a:gd name="T21" fmla="*/ 2147483647 h 95"/>
                <a:gd name="T22" fmla="*/ 2147483647 w 129"/>
                <a:gd name="T23" fmla="*/ 2147483647 h 95"/>
                <a:gd name="T24" fmla="*/ 2147483647 w 129"/>
                <a:gd name="T25" fmla="*/ 2147483647 h 95"/>
                <a:gd name="T26" fmla="*/ 2147483647 w 129"/>
                <a:gd name="T27" fmla="*/ 2147483647 h 95"/>
                <a:gd name="T28" fmla="*/ 2147483647 w 129"/>
                <a:gd name="T29" fmla="*/ 2147483647 h 95"/>
                <a:gd name="T30" fmla="*/ 2147483647 w 129"/>
                <a:gd name="T31" fmla="*/ 2147483647 h 95"/>
                <a:gd name="T32" fmla="*/ 2147483647 w 129"/>
                <a:gd name="T33" fmla="*/ 2147483647 h 95"/>
                <a:gd name="T34" fmla="*/ 2147483647 w 129"/>
                <a:gd name="T35" fmla="*/ 2147483647 h 95"/>
                <a:gd name="T36" fmla="*/ 2147483647 w 129"/>
                <a:gd name="T37" fmla="*/ 2147483647 h 95"/>
                <a:gd name="T38" fmla="*/ 2147483647 w 129"/>
                <a:gd name="T39" fmla="*/ 2147483647 h 95"/>
                <a:gd name="T40" fmla="*/ 2147483647 w 129"/>
                <a:gd name="T41" fmla="*/ 2147483647 h 95"/>
                <a:gd name="T42" fmla="*/ 2147483647 w 129"/>
                <a:gd name="T43" fmla="*/ 0 h 95"/>
                <a:gd name="T44" fmla="*/ 0 w 129"/>
                <a:gd name="T45" fmla="*/ 2147483647 h 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29"/>
                <a:gd name="T70" fmla="*/ 0 h 95"/>
                <a:gd name="T71" fmla="*/ 129 w 129"/>
                <a:gd name="T72" fmla="*/ 95 h 9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29" h="95">
                  <a:moveTo>
                    <a:pt x="0" y="14"/>
                  </a:moveTo>
                  <a:lnTo>
                    <a:pt x="20" y="22"/>
                  </a:lnTo>
                  <a:lnTo>
                    <a:pt x="27" y="31"/>
                  </a:lnTo>
                  <a:lnTo>
                    <a:pt x="30" y="39"/>
                  </a:lnTo>
                  <a:lnTo>
                    <a:pt x="44" y="37"/>
                  </a:lnTo>
                  <a:lnTo>
                    <a:pt x="52" y="48"/>
                  </a:lnTo>
                  <a:lnTo>
                    <a:pt x="59" y="58"/>
                  </a:lnTo>
                  <a:lnTo>
                    <a:pt x="76" y="60"/>
                  </a:lnTo>
                  <a:lnTo>
                    <a:pt x="87" y="59"/>
                  </a:lnTo>
                  <a:lnTo>
                    <a:pt x="95" y="67"/>
                  </a:lnTo>
                  <a:lnTo>
                    <a:pt x="107" y="91"/>
                  </a:lnTo>
                  <a:lnTo>
                    <a:pt x="119" y="95"/>
                  </a:lnTo>
                  <a:lnTo>
                    <a:pt x="126" y="89"/>
                  </a:lnTo>
                  <a:lnTo>
                    <a:pt x="129" y="74"/>
                  </a:lnTo>
                  <a:lnTo>
                    <a:pt x="115" y="65"/>
                  </a:lnTo>
                  <a:lnTo>
                    <a:pt x="100" y="58"/>
                  </a:lnTo>
                  <a:lnTo>
                    <a:pt x="93" y="46"/>
                  </a:lnTo>
                  <a:lnTo>
                    <a:pt x="87" y="28"/>
                  </a:lnTo>
                  <a:lnTo>
                    <a:pt x="61" y="24"/>
                  </a:lnTo>
                  <a:lnTo>
                    <a:pt x="46" y="18"/>
                  </a:lnTo>
                  <a:lnTo>
                    <a:pt x="28" y="4"/>
                  </a:lnTo>
                  <a:lnTo>
                    <a:pt x="14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8" name="Freeform 33"/>
            <p:cNvSpPr>
              <a:spLocks/>
            </p:cNvSpPr>
            <p:nvPr/>
          </p:nvSpPr>
          <p:spPr bwMode="auto">
            <a:xfrm>
              <a:off x="5147959" y="5874752"/>
              <a:ext cx="92938" cy="72584"/>
            </a:xfrm>
            <a:custGeom>
              <a:avLst/>
              <a:gdLst>
                <a:gd name="T0" fmla="*/ 0 w 28"/>
                <a:gd name="T1" fmla="*/ 2147483647 h 27"/>
                <a:gd name="T2" fmla="*/ 2147483647 w 28"/>
                <a:gd name="T3" fmla="*/ 2147483647 h 27"/>
                <a:gd name="T4" fmla="*/ 2147483647 w 28"/>
                <a:gd name="T5" fmla="*/ 2147483647 h 27"/>
                <a:gd name="T6" fmla="*/ 2147483647 w 28"/>
                <a:gd name="T7" fmla="*/ 2147483647 h 27"/>
                <a:gd name="T8" fmla="*/ 2147483647 w 28"/>
                <a:gd name="T9" fmla="*/ 2147483647 h 27"/>
                <a:gd name="T10" fmla="*/ 2147483647 w 28"/>
                <a:gd name="T11" fmla="*/ 2147483647 h 27"/>
                <a:gd name="T12" fmla="*/ 2147483647 w 28"/>
                <a:gd name="T13" fmla="*/ 0 h 27"/>
                <a:gd name="T14" fmla="*/ 0 w 28"/>
                <a:gd name="T15" fmla="*/ 2147483647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27"/>
                <a:gd name="T26" fmla="*/ 28 w 28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27">
                  <a:moveTo>
                    <a:pt x="0" y="3"/>
                  </a:moveTo>
                  <a:lnTo>
                    <a:pt x="10" y="18"/>
                  </a:lnTo>
                  <a:lnTo>
                    <a:pt x="14" y="27"/>
                  </a:lnTo>
                  <a:lnTo>
                    <a:pt x="23" y="27"/>
                  </a:lnTo>
                  <a:lnTo>
                    <a:pt x="28" y="19"/>
                  </a:lnTo>
                  <a:lnTo>
                    <a:pt x="19" y="7"/>
                  </a:lnTo>
                  <a:lnTo>
                    <a:pt x="9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9" name="Freeform 34"/>
            <p:cNvSpPr>
              <a:spLocks/>
            </p:cNvSpPr>
            <p:nvPr/>
          </p:nvSpPr>
          <p:spPr bwMode="auto">
            <a:xfrm>
              <a:off x="5015701" y="5191789"/>
              <a:ext cx="75066" cy="59386"/>
            </a:xfrm>
            <a:custGeom>
              <a:avLst/>
              <a:gdLst>
                <a:gd name="T0" fmla="*/ 2147483647 w 24"/>
                <a:gd name="T1" fmla="*/ 2147483647 h 23"/>
                <a:gd name="T2" fmla="*/ 2147483647 w 24"/>
                <a:gd name="T3" fmla="*/ 2147483647 h 23"/>
                <a:gd name="T4" fmla="*/ 2147483647 w 24"/>
                <a:gd name="T5" fmla="*/ 2147483647 h 23"/>
                <a:gd name="T6" fmla="*/ 2147483647 w 24"/>
                <a:gd name="T7" fmla="*/ 2147483647 h 23"/>
                <a:gd name="T8" fmla="*/ 2147483647 w 24"/>
                <a:gd name="T9" fmla="*/ 0 h 23"/>
                <a:gd name="T10" fmla="*/ 2147483647 w 24"/>
                <a:gd name="T11" fmla="*/ 2147483647 h 23"/>
                <a:gd name="T12" fmla="*/ 0 w 24"/>
                <a:gd name="T13" fmla="*/ 2147483647 h 23"/>
                <a:gd name="T14" fmla="*/ 2147483647 w 24"/>
                <a:gd name="T15" fmla="*/ 2147483647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3"/>
                <a:gd name="T26" fmla="*/ 24 w 24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3">
                  <a:moveTo>
                    <a:pt x="3" y="17"/>
                  </a:moveTo>
                  <a:lnTo>
                    <a:pt x="14" y="23"/>
                  </a:lnTo>
                  <a:lnTo>
                    <a:pt x="20" y="17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4" y="4"/>
                  </a:lnTo>
                  <a:lnTo>
                    <a:pt x="0" y="10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EAEAEA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0" name="Freeform 35"/>
            <p:cNvSpPr>
              <a:spLocks/>
            </p:cNvSpPr>
            <p:nvPr/>
          </p:nvSpPr>
          <p:spPr bwMode="auto">
            <a:xfrm>
              <a:off x="5165830" y="5369949"/>
              <a:ext cx="75066" cy="65988"/>
            </a:xfrm>
            <a:custGeom>
              <a:avLst/>
              <a:gdLst>
                <a:gd name="T0" fmla="*/ 2147483647 w 23"/>
                <a:gd name="T1" fmla="*/ 2147483647 h 27"/>
                <a:gd name="T2" fmla="*/ 0 w 23"/>
                <a:gd name="T3" fmla="*/ 2147483647 h 27"/>
                <a:gd name="T4" fmla="*/ 2147483647 w 23"/>
                <a:gd name="T5" fmla="*/ 2147483647 h 27"/>
                <a:gd name="T6" fmla="*/ 2147483647 w 23"/>
                <a:gd name="T7" fmla="*/ 2147483647 h 27"/>
                <a:gd name="T8" fmla="*/ 2147483647 w 23"/>
                <a:gd name="T9" fmla="*/ 2147483647 h 27"/>
                <a:gd name="T10" fmla="*/ 2147483647 w 23"/>
                <a:gd name="T11" fmla="*/ 2147483647 h 27"/>
                <a:gd name="T12" fmla="*/ 2147483647 w 23"/>
                <a:gd name="T13" fmla="*/ 0 h 27"/>
                <a:gd name="T14" fmla="*/ 2147483647 w 23"/>
                <a:gd name="T15" fmla="*/ 2147483647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3"/>
                <a:gd name="T25" fmla="*/ 0 h 27"/>
                <a:gd name="T26" fmla="*/ 23 w 23"/>
                <a:gd name="T27" fmla="*/ 27 h 2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3" h="27">
                  <a:moveTo>
                    <a:pt x="2" y="11"/>
                  </a:moveTo>
                  <a:lnTo>
                    <a:pt x="0" y="18"/>
                  </a:lnTo>
                  <a:lnTo>
                    <a:pt x="5" y="27"/>
                  </a:lnTo>
                  <a:lnTo>
                    <a:pt x="19" y="20"/>
                  </a:lnTo>
                  <a:lnTo>
                    <a:pt x="23" y="11"/>
                  </a:lnTo>
                  <a:lnTo>
                    <a:pt x="20" y="1"/>
                  </a:lnTo>
                  <a:lnTo>
                    <a:pt x="12" y="0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1" name="Freeform 36"/>
            <p:cNvSpPr>
              <a:spLocks/>
            </p:cNvSpPr>
            <p:nvPr/>
          </p:nvSpPr>
          <p:spPr bwMode="auto">
            <a:xfrm>
              <a:off x="4325825" y="5828561"/>
              <a:ext cx="564771" cy="458609"/>
            </a:xfrm>
            <a:custGeom>
              <a:avLst/>
              <a:gdLst>
                <a:gd name="T0" fmla="*/ 2147483647 w 179"/>
                <a:gd name="T1" fmla="*/ 2147483647 h 179"/>
                <a:gd name="T2" fmla="*/ 2147483647 w 179"/>
                <a:gd name="T3" fmla="*/ 2147483647 h 179"/>
                <a:gd name="T4" fmla="*/ 2147483647 w 179"/>
                <a:gd name="T5" fmla="*/ 2147483647 h 179"/>
                <a:gd name="T6" fmla="*/ 2147483647 w 179"/>
                <a:gd name="T7" fmla="*/ 2147483647 h 179"/>
                <a:gd name="T8" fmla="*/ 2147483647 w 179"/>
                <a:gd name="T9" fmla="*/ 2147483647 h 179"/>
                <a:gd name="T10" fmla="*/ 2147483647 w 179"/>
                <a:gd name="T11" fmla="*/ 2147483647 h 179"/>
                <a:gd name="T12" fmla="*/ 2147483647 w 179"/>
                <a:gd name="T13" fmla="*/ 2147483647 h 179"/>
                <a:gd name="T14" fmla="*/ 2147483647 w 179"/>
                <a:gd name="T15" fmla="*/ 2147483647 h 179"/>
                <a:gd name="T16" fmla="*/ 2147483647 w 179"/>
                <a:gd name="T17" fmla="*/ 2147483647 h 179"/>
                <a:gd name="T18" fmla="*/ 2147483647 w 179"/>
                <a:gd name="T19" fmla="*/ 2147483647 h 179"/>
                <a:gd name="T20" fmla="*/ 2147483647 w 179"/>
                <a:gd name="T21" fmla="*/ 2147483647 h 179"/>
                <a:gd name="T22" fmla="*/ 2147483647 w 179"/>
                <a:gd name="T23" fmla="*/ 2147483647 h 179"/>
                <a:gd name="T24" fmla="*/ 2147483647 w 179"/>
                <a:gd name="T25" fmla="*/ 2147483647 h 179"/>
                <a:gd name="T26" fmla="*/ 2147483647 w 179"/>
                <a:gd name="T27" fmla="*/ 2147483647 h 179"/>
                <a:gd name="T28" fmla="*/ 2147483647 w 179"/>
                <a:gd name="T29" fmla="*/ 2147483647 h 179"/>
                <a:gd name="T30" fmla="*/ 2147483647 w 179"/>
                <a:gd name="T31" fmla="*/ 2147483647 h 179"/>
                <a:gd name="T32" fmla="*/ 2147483647 w 179"/>
                <a:gd name="T33" fmla="*/ 2147483647 h 179"/>
                <a:gd name="T34" fmla="*/ 2147483647 w 179"/>
                <a:gd name="T35" fmla="*/ 2147483647 h 179"/>
                <a:gd name="T36" fmla="*/ 2147483647 w 179"/>
                <a:gd name="T37" fmla="*/ 2147483647 h 179"/>
                <a:gd name="T38" fmla="*/ 2147483647 w 179"/>
                <a:gd name="T39" fmla="*/ 2147483647 h 179"/>
                <a:gd name="T40" fmla="*/ 2147483647 w 179"/>
                <a:gd name="T41" fmla="*/ 2147483647 h 179"/>
                <a:gd name="T42" fmla="*/ 2147483647 w 179"/>
                <a:gd name="T43" fmla="*/ 2147483647 h 179"/>
                <a:gd name="T44" fmla="*/ 2147483647 w 179"/>
                <a:gd name="T45" fmla="*/ 2147483647 h 179"/>
                <a:gd name="T46" fmla="*/ 2147483647 w 179"/>
                <a:gd name="T47" fmla="*/ 2147483647 h 179"/>
                <a:gd name="T48" fmla="*/ 2147483647 w 179"/>
                <a:gd name="T49" fmla="*/ 2147483647 h 179"/>
                <a:gd name="T50" fmla="*/ 2147483647 w 179"/>
                <a:gd name="T51" fmla="*/ 2147483647 h 179"/>
                <a:gd name="T52" fmla="*/ 2147483647 w 179"/>
                <a:gd name="T53" fmla="*/ 2147483647 h 179"/>
                <a:gd name="T54" fmla="*/ 2147483647 w 179"/>
                <a:gd name="T55" fmla="*/ 2147483647 h 179"/>
                <a:gd name="T56" fmla="*/ 2147483647 w 179"/>
                <a:gd name="T57" fmla="*/ 2147483647 h 179"/>
                <a:gd name="T58" fmla="*/ 2147483647 w 179"/>
                <a:gd name="T59" fmla="*/ 2147483647 h 179"/>
                <a:gd name="T60" fmla="*/ 2147483647 w 179"/>
                <a:gd name="T61" fmla="*/ 2147483647 h 179"/>
                <a:gd name="T62" fmla="*/ 2147483647 w 179"/>
                <a:gd name="T63" fmla="*/ 2147483647 h 179"/>
                <a:gd name="T64" fmla="*/ 2147483647 w 179"/>
                <a:gd name="T65" fmla="*/ 2147483647 h 179"/>
                <a:gd name="T66" fmla="*/ 2147483647 w 179"/>
                <a:gd name="T67" fmla="*/ 2147483647 h 179"/>
                <a:gd name="T68" fmla="*/ 2147483647 w 179"/>
                <a:gd name="T69" fmla="*/ 2147483647 h 179"/>
                <a:gd name="T70" fmla="*/ 2147483647 w 179"/>
                <a:gd name="T71" fmla="*/ 2147483647 h 179"/>
                <a:gd name="T72" fmla="*/ 2147483647 w 179"/>
                <a:gd name="T73" fmla="*/ 2147483647 h 179"/>
                <a:gd name="T74" fmla="*/ 2147483647 w 179"/>
                <a:gd name="T75" fmla="*/ 0 h 179"/>
                <a:gd name="T76" fmla="*/ 2147483647 w 179"/>
                <a:gd name="T77" fmla="*/ 2147483647 h 179"/>
                <a:gd name="T78" fmla="*/ 2147483647 w 179"/>
                <a:gd name="T79" fmla="*/ 2147483647 h 179"/>
                <a:gd name="T80" fmla="*/ 2147483647 w 179"/>
                <a:gd name="T81" fmla="*/ 2147483647 h 179"/>
                <a:gd name="T82" fmla="*/ 2147483647 w 179"/>
                <a:gd name="T83" fmla="*/ 2147483647 h 179"/>
                <a:gd name="T84" fmla="*/ 2147483647 w 179"/>
                <a:gd name="T85" fmla="*/ 2147483647 h 179"/>
                <a:gd name="T86" fmla="*/ 0 w 179"/>
                <a:gd name="T87" fmla="*/ 2147483647 h 179"/>
                <a:gd name="T88" fmla="*/ 2147483647 w 179"/>
                <a:gd name="T89" fmla="*/ 2147483647 h 179"/>
                <a:gd name="T90" fmla="*/ 2147483647 w 179"/>
                <a:gd name="T91" fmla="*/ 2147483647 h 179"/>
                <a:gd name="T92" fmla="*/ 2147483647 w 179"/>
                <a:gd name="T93" fmla="*/ 2147483647 h 179"/>
                <a:gd name="T94" fmla="*/ 2147483647 w 179"/>
                <a:gd name="T95" fmla="*/ 2147483647 h 1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79"/>
                <a:gd name="T145" fmla="*/ 0 h 179"/>
                <a:gd name="T146" fmla="*/ 179 w 179"/>
                <a:gd name="T147" fmla="*/ 179 h 1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79" h="179">
                  <a:moveTo>
                    <a:pt x="39" y="99"/>
                  </a:moveTo>
                  <a:lnTo>
                    <a:pt x="36" y="129"/>
                  </a:lnTo>
                  <a:lnTo>
                    <a:pt x="44" y="146"/>
                  </a:lnTo>
                  <a:lnTo>
                    <a:pt x="58" y="156"/>
                  </a:lnTo>
                  <a:lnTo>
                    <a:pt x="68" y="130"/>
                  </a:lnTo>
                  <a:lnTo>
                    <a:pt x="85" y="144"/>
                  </a:lnTo>
                  <a:lnTo>
                    <a:pt x="91" y="151"/>
                  </a:lnTo>
                  <a:lnTo>
                    <a:pt x="96" y="159"/>
                  </a:lnTo>
                  <a:lnTo>
                    <a:pt x="100" y="167"/>
                  </a:lnTo>
                  <a:lnTo>
                    <a:pt x="101" y="179"/>
                  </a:lnTo>
                  <a:lnTo>
                    <a:pt x="111" y="176"/>
                  </a:lnTo>
                  <a:lnTo>
                    <a:pt x="116" y="152"/>
                  </a:lnTo>
                  <a:lnTo>
                    <a:pt x="133" y="166"/>
                  </a:lnTo>
                  <a:lnTo>
                    <a:pt x="139" y="168"/>
                  </a:lnTo>
                  <a:lnTo>
                    <a:pt x="153" y="175"/>
                  </a:lnTo>
                  <a:lnTo>
                    <a:pt x="156" y="157"/>
                  </a:lnTo>
                  <a:lnTo>
                    <a:pt x="151" y="132"/>
                  </a:lnTo>
                  <a:lnTo>
                    <a:pt x="138" y="107"/>
                  </a:lnTo>
                  <a:lnTo>
                    <a:pt x="125" y="84"/>
                  </a:lnTo>
                  <a:lnTo>
                    <a:pt x="123" y="74"/>
                  </a:lnTo>
                  <a:lnTo>
                    <a:pt x="140" y="85"/>
                  </a:lnTo>
                  <a:lnTo>
                    <a:pt x="154" y="95"/>
                  </a:lnTo>
                  <a:lnTo>
                    <a:pt x="163" y="88"/>
                  </a:lnTo>
                  <a:lnTo>
                    <a:pt x="175" y="84"/>
                  </a:lnTo>
                  <a:lnTo>
                    <a:pt x="179" y="76"/>
                  </a:lnTo>
                  <a:lnTo>
                    <a:pt x="169" y="66"/>
                  </a:lnTo>
                  <a:lnTo>
                    <a:pt x="156" y="62"/>
                  </a:lnTo>
                  <a:lnTo>
                    <a:pt x="145" y="47"/>
                  </a:lnTo>
                  <a:lnTo>
                    <a:pt x="145" y="38"/>
                  </a:lnTo>
                  <a:lnTo>
                    <a:pt x="163" y="33"/>
                  </a:lnTo>
                  <a:lnTo>
                    <a:pt x="157" y="28"/>
                  </a:lnTo>
                  <a:lnTo>
                    <a:pt x="146" y="27"/>
                  </a:lnTo>
                  <a:lnTo>
                    <a:pt x="126" y="23"/>
                  </a:lnTo>
                  <a:lnTo>
                    <a:pt x="112" y="21"/>
                  </a:lnTo>
                  <a:lnTo>
                    <a:pt x="99" y="15"/>
                  </a:lnTo>
                  <a:lnTo>
                    <a:pt x="78" y="18"/>
                  </a:lnTo>
                  <a:lnTo>
                    <a:pt x="52" y="1"/>
                  </a:lnTo>
                  <a:lnTo>
                    <a:pt x="45" y="0"/>
                  </a:lnTo>
                  <a:lnTo>
                    <a:pt x="34" y="14"/>
                  </a:lnTo>
                  <a:lnTo>
                    <a:pt x="24" y="23"/>
                  </a:lnTo>
                  <a:lnTo>
                    <a:pt x="16" y="18"/>
                  </a:lnTo>
                  <a:lnTo>
                    <a:pt x="8" y="31"/>
                  </a:lnTo>
                  <a:lnTo>
                    <a:pt x="4" y="44"/>
                  </a:lnTo>
                  <a:lnTo>
                    <a:pt x="0" y="58"/>
                  </a:lnTo>
                  <a:lnTo>
                    <a:pt x="5" y="75"/>
                  </a:lnTo>
                  <a:lnTo>
                    <a:pt x="18" y="82"/>
                  </a:lnTo>
                  <a:lnTo>
                    <a:pt x="34" y="91"/>
                  </a:lnTo>
                  <a:lnTo>
                    <a:pt x="39" y="9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2" name="Freeform 37"/>
            <p:cNvSpPr>
              <a:spLocks/>
            </p:cNvSpPr>
            <p:nvPr/>
          </p:nvSpPr>
          <p:spPr bwMode="auto">
            <a:xfrm>
              <a:off x="5340982" y="6049619"/>
              <a:ext cx="46467" cy="72584"/>
            </a:xfrm>
            <a:custGeom>
              <a:avLst/>
              <a:gdLst>
                <a:gd name="T0" fmla="*/ 2147483647 w 15"/>
                <a:gd name="T1" fmla="*/ 2147483647 h 31"/>
                <a:gd name="T2" fmla="*/ 0 w 15"/>
                <a:gd name="T3" fmla="*/ 2147483647 h 31"/>
                <a:gd name="T4" fmla="*/ 2147483647 w 15"/>
                <a:gd name="T5" fmla="*/ 2147483647 h 31"/>
                <a:gd name="T6" fmla="*/ 2147483647 w 15"/>
                <a:gd name="T7" fmla="*/ 2147483647 h 31"/>
                <a:gd name="T8" fmla="*/ 2147483647 w 15"/>
                <a:gd name="T9" fmla="*/ 2147483647 h 31"/>
                <a:gd name="T10" fmla="*/ 2147483647 w 15"/>
                <a:gd name="T11" fmla="*/ 0 h 31"/>
                <a:gd name="T12" fmla="*/ 2147483647 w 15"/>
                <a:gd name="T13" fmla="*/ 2147483647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1"/>
                <a:gd name="T23" fmla="*/ 15 w 15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1">
                  <a:moveTo>
                    <a:pt x="2" y="10"/>
                  </a:moveTo>
                  <a:lnTo>
                    <a:pt x="0" y="27"/>
                  </a:lnTo>
                  <a:lnTo>
                    <a:pt x="9" y="31"/>
                  </a:lnTo>
                  <a:lnTo>
                    <a:pt x="14" y="23"/>
                  </a:lnTo>
                  <a:lnTo>
                    <a:pt x="15" y="8"/>
                  </a:lnTo>
                  <a:lnTo>
                    <a:pt x="12" y="0"/>
                  </a:lnTo>
                  <a:lnTo>
                    <a:pt x="2" y="10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3" name="Freeform 38"/>
            <p:cNvSpPr>
              <a:spLocks/>
            </p:cNvSpPr>
            <p:nvPr/>
          </p:nvSpPr>
          <p:spPr bwMode="auto">
            <a:xfrm>
              <a:off x="5391024" y="5680087"/>
              <a:ext cx="96510" cy="105580"/>
            </a:xfrm>
            <a:custGeom>
              <a:avLst/>
              <a:gdLst>
                <a:gd name="T0" fmla="*/ 2147483647 w 30"/>
                <a:gd name="T1" fmla="*/ 0 h 42"/>
                <a:gd name="T2" fmla="*/ 2147483647 w 30"/>
                <a:gd name="T3" fmla="*/ 0 h 42"/>
                <a:gd name="T4" fmla="*/ 2147483647 w 30"/>
                <a:gd name="T5" fmla="*/ 2147483647 h 42"/>
                <a:gd name="T6" fmla="*/ 2147483647 w 30"/>
                <a:gd name="T7" fmla="*/ 2147483647 h 42"/>
                <a:gd name="T8" fmla="*/ 2147483647 w 30"/>
                <a:gd name="T9" fmla="*/ 2147483647 h 42"/>
                <a:gd name="T10" fmla="*/ 2147483647 w 30"/>
                <a:gd name="T11" fmla="*/ 2147483647 h 42"/>
                <a:gd name="T12" fmla="*/ 2147483647 w 30"/>
                <a:gd name="T13" fmla="*/ 2147483647 h 42"/>
                <a:gd name="T14" fmla="*/ 2147483647 w 30"/>
                <a:gd name="T15" fmla="*/ 2147483647 h 42"/>
                <a:gd name="T16" fmla="*/ 2147483647 w 30"/>
                <a:gd name="T17" fmla="*/ 2147483647 h 42"/>
                <a:gd name="T18" fmla="*/ 0 w 30"/>
                <a:gd name="T19" fmla="*/ 2147483647 h 42"/>
                <a:gd name="T20" fmla="*/ 2147483647 w 30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"/>
                <a:gd name="T34" fmla="*/ 0 h 42"/>
                <a:gd name="T35" fmla="*/ 30 w 30"/>
                <a:gd name="T36" fmla="*/ 42 h 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" h="42">
                  <a:moveTo>
                    <a:pt x="3" y="0"/>
                  </a:moveTo>
                  <a:lnTo>
                    <a:pt x="22" y="0"/>
                  </a:lnTo>
                  <a:lnTo>
                    <a:pt x="26" y="10"/>
                  </a:lnTo>
                  <a:lnTo>
                    <a:pt x="30" y="19"/>
                  </a:lnTo>
                  <a:lnTo>
                    <a:pt x="24" y="28"/>
                  </a:lnTo>
                  <a:lnTo>
                    <a:pt x="21" y="37"/>
                  </a:lnTo>
                  <a:lnTo>
                    <a:pt x="14" y="42"/>
                  </a:lnTo>
                  <a:lnTo>
                    <a:pt x="8" y="33"/>
                  </a:lnTo>
                  <a:lnTo>
                    <a:pt x="9" y="21"/>
                  </a:lnTo>
                  <a:lnTo>
                    <a:pt x="0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4" name="Freeform 39"/>
            <p:cNvSpPr>
              <a:spLocks/>
            </p:cNvSpPr>
            <p:nvPr/>
          </p:nvSpPr>
          <p:spPr bwMode="auto">
            <a:xfrm>
              <a:off x="5376726" y="5478830"/>
              <a:ext cx="185874" cy="102280"/>
            </a:xfrm>
            <a:custGeom>
              <a:avLst/>
              <a:gdLst>
                <a:gd name="T0" fmla="*/ 2147483647 w 60"/>
                <a:gd name="T1" fmla="*/ 2147483647 h 40"/>
                <a:gd name="T2" fmla="*/ 2147483647 w 60"/>
                <a:gd name="T3" fmla="*/ 2147483647 h 40"/>
                <a:gd name="T4" fmla="*/ 2147483647 w 60"/>
                <a:gd name="T5" fmla="*/ 2147483647 h 40"/>
                <a:gd name="T6" fmla="*/ 2147483647 w 60"/>
                <a:gd name="T7" fmla="*/ 2147483647 h 40"/>
                <a:gd name="T8" fmla="*/ 2147483647 w 60"/>
                <a:gd name="T9" fmla="*/ 2147483647 h 40"/>
                <a:gd name="T10" fmla="*/ 2147483647 w 60"/>
                <a:gd name="T11" fmla="*/ 2147483647 h 40"/>
                <a:gd name="T12" fmla="*/ 2147483647 w 60"/>
                <a:gd name="T13" fmla="*/ 2147483647 h 40"/>
                <a:gd name="T14" fmla="*/ 2147483647 w 60"/>
                <a:gd name="T15" fmla="*/ 2147483647 h 40"/>
                <a:gd name="T16" fmla="*/ 2147483647 w 60"/>
                <a:gd name="T17" fmla="*/ 0 h 40"/>
                <a:gd name="T18" fmla="*/ 2147483647 w 60"/>
                <a:gd name="T19" fmla="*/ 2147483647 h 40"/>
                <a:gd name="T20" fmla="*/ 2147483647 w 60"/>
                <a:gd name="T21" fmla="*/ 2147483647 h 40"/>
                <a:gd name="T22" fmla="*/ 0 w 60"/>
                <a:gd name="T23" fmla="*/ 2147483647 h 40"/>
                <a:gd name="T24" fmla="*/ 2147483647 w 60"/>
                <a:gd name="T25" fmla="*/ 2147483647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0"/>
                <a:gd name="T40" fmla="*/ 0 h 40"/>
                <a:gd name="T41" fmla="*/ 60 w 60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0" h="40">
                  <a:moveTo>
                    <a:pt x="9" y="32"/>
                  </a:moveTo>
                  <a:lnTo>
                    <a:pt x="25" y="24"/>
                  </a:lnTo>
                  <a:lnTo>
                    <a:pt x="29" y="31"/>
                  </a:lnTo>
                  <a:lnTo>
                    <a:pt x="27" y="40"/>
                  </a:lnTo>
                  <a:lnTo>
                    <a:pt x="42" y="39"/>
                  </a:lnTo>
                  <a:lnTo>
                    <a:pt x="50" y="33"/>
                  </a:lnTo>
                  <a:lnTo>
                    <a:pt x="60" y="33"/>
                  </a:lnTo>
                  <a:lnTo>
                    <a:pt x="49" y="12"/>
                  </a:lnTo>
                  <a:lnTo>
                    <a:pt x="35" y="0"/>
                  </a:lnTo>
                  <a:lnTo>
                    <a:pt x="19" y="9"/>
                  </a:lnTo>
                  <a:lnTo>
                    <a:pt x="3" y="19"/>
                  </a:lnTo>
                  <a:lnTo>
                    <a:pt x="0" y="31"/>
                  </a:lnTo>
                  <a:lnTo>
                    <a:pt x="9" y="32"/>
                  </a:lnTo>
                  <a:close/>
                </a:path>
              </a:pathLst>
            </a:custGeom>
            <a:solidFill>
              <a:srgbClr val="C5C5C5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5" name="Freeform 40"/>
            <p:cNvSpPr>
              <a:spLocks/>
            </p:cNvSpPr>
            <p:nvPr/>
          </p:nvSpPr>
          <p:spPr bwMode="auto">
            <a:xfrm>
              <a:off x="1073032" y="2938336"/>
              <a:ext cx="142981" cy="174867"/>
            </a:xfrm>
            <a:custGeom>
              <a:avLst/>
              <a:gdLst>
                <a:gd name="T0" fmla="*/ 0 w 46"/>
                <a:gd name="T1" fmla="*/ 2147483647 h 67"/>
                <a:gd name="T2" fmla="*/ 2147483647 w 46"/>
                <a:gd name="T3" fmla="*/ 2147483647 h 67"/>
                <a:gd name="T4" fmla="*/ 2147483647 w 46"/>
                <a:gd name="T5" fmla="*/ 2147483647 h 67"/>
                <a:gd name="T6" fmla="*/ 2147483647 w 46"/>
                <a:gd name="T7" fmla="*/ 2147483647 h 67"/>
                <a:gd name="T8" fmla="*/ 2147483647 w 46"/>
                <a:gd name="T9" fmla="*/ 2147483647 h 67"/>
                <a:gd name="T10" fmla="*/ 2147483647 w 46"/>
                <a:gd name="T11" fmla="*/ 2147483647 h 67"/>
                <a:gd name="T12" fmla="*/ 2147483647 w 46"/>
                <a:gd name="T13" fmla="*/ 2147483647 h 67"/>
                <a:gd name="T14" fmla="*/ 2147483647 w 46"/>
                <a:gd name="T15" fmla="*/ 0 h 67"/>
                <a:gd name="T16" fmla="*/ 2147483647 w 46"/>
                <a:gd name="T17" fmla="*/ 2147483647 h 67"/>
                <a:gd name="T18" fmla="*/ 2147483647 w 46"/>
                <a:gd name="T19" fmla="*/ 2147483647 h 67"/>
                <a:gd name="T20" fmla="*/ 0 w 46"/>
                <a:gd name="T21" fmla="*/ 2147483647 h 67"/>
                <a:gd name="T22" fmla="*/ 0 w 46"/>
                <a:gd name="T23" fmla="*/ 2147483647 h 6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67"/>
                <a:gd name="T38" fmla="*/ 46 w 46"/>
                <a:gd name="T39" fmla="*/ 67 h 6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67">
                  <a:moveTo>
                    <a:pt x="0" y="56"/>
                  </a:moveTo>
                  <a:lnTo>
                    <a:pt x="27" y="55"/>
                  </a:lnTo>
                  <a:lnTo>
                    <a:pt x="42" y="67"/>
                  </a:lnTo>
                  <a:lnTo>
                    <a:pt x="44" y="55"/>
                  </a:lnTo>
                  <a:lnTo>
                    <a:pt x="46" y="31"/>
                  </a:lnTo>
                  <a:lnTo>
                    <a:pt x="35" y="22"/>
                  </a:lnTo>
                  <a:lnTo>
                    <a:pt x="42" y="7"/>
                  </a:lnTo>
                  <a:lnTo>
                    <a:pt x="22" y="0"/>
                  </a:lnTo>
                  <a:lnTo>
                    <a:pt x="7" y="11"/>
                  </a:lnTo>
                  <a:lnTo>
                    <a:pt x="3" y="28"/>
                  </a:lnTo>
                  <a:lnTo>
                    <a:pt x="0" y="4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EAEAEA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6" name="Oval 41"/>
            <p:cNvSpPr>
              <a:spLocks noChangeArrowheads="1"/>
            </p:cNvSpPr>
            <p:nvPr/>
          </p:nvSpPr>
          <p:spPr bwMode="auto">
            <a:xfrm>
              <a:off x="1140949" y="3040615"/>
              <a:ext cx="50045" cy="42889"/>
            </a:xfrm>
            <a:prstGeom prst="ellipse">
              <a:avLst/>
            </a:prstGeom>
            <a:solidFill>
              <a:srgbClr val="EAEAEA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7629" tIns="48813" rIns="97629" bIns="4881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7" name="Oval 42"/>
            <p:cNvSpPr>
              <a:spLocks noChangeArrowheads="1"/>
            </p:cNvSpPr>
            <p:nvPr/>
          </p:nvSpPr>
          <p:spPr bwMode="auto">
            <a:xfrm>
              <a:off x="955076" y="2466534"/>
              <a:ext cx="53619" cy="42889"/>
            </a:xfrm>
            <a:prstGeom prst="ellipse">
              <a:avLst/>
            </a:prstGeom>
            <a:solidFill>
              <a:srgbClr val="EAEAEA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7629" tIns="48813" rIns="97629" bIns="48813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8" name="Freeform 43"/>
            <p:cNvSpPr>
              <a:spLocks/>
            </p:cNvSpPr>
            <p:nvPr/>
          </p:nvSpPr>
          <p:spPr bwMode="auto">
            <a:xfrm>
              <a:off x="1473372" y="4785968"/>
              <a:ext cx="225194" cy="386025"/>
            </a:xfrm>
            <a:custGeom>
              <a:avLst/>
              <a:gdLst>
                <a:gd name="T0" fmla="*/ 2147483647 w 70"/>
                <a:gd name="T1" fmla="*/ 0 h 151"/>
                <a:gd name="T2" fmla="*/ 2147483647 w 70"/>
                <a:gd name="T3" fmla="*/ 2147483647 h 151"/>
                <a:gd name="T4" fmla="*/ 2147483647 w 70"/>
                <a:gd name="T5" fmla="*/ 2147483647 h 151"/>
                <a:gd name="T6" fmla="*/ 2147483647 w 70"/>
                <a:gd name="T7" fmla="*/ 2147483647 h 151"/>
                <a:gd name="T8" fmla="*/ 2147483647 w 70"/>
                <a:gd name="T9" fmla="*/ 2147483647 h 151"/>
                <a:gd name="T10" fmla="*/ 2147483647 w 70"/>
                <a:gd name="T11" fmla="*/ 2147483647 h 151"/>
                <a:gd name="T12" fmla="*/ 0 w 70"/>
                <a:gd name="T13" fmla="*/ 2147483647 h 151"/>
                <a:gd name="T14" fmla="*/ 2147483647 w 70"/>
                <a:gd name="T15" fmla="*/ 2147483647 h 151"/>
                <a:gd name="T16" fmla="*/ 2147483647 w 70"/>
                <a:gd name="T17" fmla="*/ 2147483647 h 151"/>
                <a:gd name="T18" fmla="*/ 2147483647 w 70"/>
                <a:gd name="T19" fmla="*/ 2147483647 h 151"/>
                <a:gd name="T20" fmla="*/ 2147483647 w 70"/>
                <a:gd name="T21" fmla="*/ 2147483647 h 151"/>
                <a:gd name="T22" fmla="*/ 2147483647 w 70"/>
                <a:gd name="T23" fmla="*/ 2147483647 h 151"/>
                <a:gd name="T24" fmla="*/ 2147483647 w 70"/>
                <a:gd name="T25" fmla="*/ 2147483647 h 151"/>
                <a:gd name="T26" fmla="*/ 2147483647 w 70"/>
                <a:gd name="T27" fmla="*/ 2147483647 h 151"/>
                <a:gd name="T28" fmla="*/ 2147483647 w 70"/>
                <a:gd name="T29" fmla="*/ 2147483647 h 151"/>
                <a:gd name="T30" fmla="*/ 2147483647 w 70"/>
                <a:gd name="T31" fmla="*/ 2147483647 h 151"/>
                <a:gd name="T32" fmla="*/ 2147483647 w 70"/>
                <a:gd name="T33" fmla="*/ 0 h 15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0"/>
                <a:gd name="T52" fmla="*/ 0 h 151"/>
                <a:gd name="T53" fmla="*/ 70 w 70"/>
                <a:gd name="T54" fmla="*/ 151 h 15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0" h="151">
                  <a:moveTo>
                    <a:pt x="60" y="0"/>
                  </a:moveTo>
                  <a:lnTo>
                    <a:pt x="44" y="20"/>
                  </a:lnTo>
                  <a:lnTo>
                    <a:pt x="32" y="25"/>
                  </a:lnTo>
                  <a:lnTo>
                    <a:pt x="22" y="35"/>
                  </a:lnTo>
                  <a:lnTo>
                    <a:pt x="10" y="35"/>
                  </a:lnTo>
                  <a:lnTo>
                    <a:pt x="2" y="48"/>
                  </a:lnTo>
                  <a:lnTo>
                    <a:pt x="0" y="73"/>
                  </a:lnTo>
                  <a:lnTo>
                    <a:pt x="6" y="87"/>
                  </a:lnTo>
                  <a:lnTo>
                    <a:pt x="8" y="119"/>
                  </a:lnTo>
                  <a:lnTo>
                    <a:pt x="22" y="137"/>
                  </a:lnTo>
                  <a:lnTo>
                    <a:pt x="40" y="151"/>
                  </a:lnTo>
                  <a:lnTo>
                    <a:pt x="38" y="151"/>
                  </a:lnTo>
                  <a:lnTo>
                    <a:pt x="52" y="125"/>
                  </a:lnTo>
                  <a:lnTo>
                    <a:pt x="64" y="89"/>
                  </a:lnTo>
                  <a:lnTo>
                    <a:pt x="70" y="68"/>
                  </a:lnTo>
                  <a:lnTo>
                    <a:pt x="59" y="3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EAEAEA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9" name="Freeform 45"/>
            <p:cNvSpPr>
              <a:spLocks/>
            </p:cNvSpPr>
            <p:nvPr/>
          </p:nvSpPr>
          <p:spPr bwMode="auto">
            <a:xfrm>
              <a:off x="5369575" y="4818962"/>
              <a:ext cx="668430" cy="508100"/>
            </a:xfrm>
            <a:custGeom>
              <a:avLst/>
              <a:gdLst>
                <a:gd name="T0" fmla="*/ 0 w 213"/>
                <a:gd name="T1" fmla="*/ 2147483647 h 199"/>
                <a:gd name="T2" fmla="*/ 2147483647 w 213"/>
                <a:gd name="T3" fmla="*/ 2147483647 h 199"/>
                <a:gd name="T4" fmla="*/ 2147483647 w 213"/>
                <a:gd name="T5" fmla="*/ 2147483647 h 199"/>
                <a:gd name="T6" fmla="*/ 2147483647 w 213"/>
                <a:gd name="T7" fmla="*/ 2147483647 h 199"/>
                <a:gd name="T8" fmla="*/ 2147483647 w 213"/>
                <a:gd name="T9" fmla="*/ 2147483647 h 199"/>
                <a:gd name="T10" fmla="*/ 2147483647 w 213"/>
                <a:gd name="T11" fmla="*/ 2147483647 h 199"/>
                <a:gd name="T12" fmla="*/ 2147483647 w 213"/>
                <a:gd name="T13" fmla="*/ 2147483647 h 199"/>
                <a:gd name="T14" fmla="*/ 2147483647 w 213"/>
                <a:gd name="T15" fmla="*/ 2147483647 h 199"/>
                <a:gd name="T16" fmla="*/ 2147483647 w 213"/>
                <a:gd name="T17" fmla="*/ 2147483647 h 199"/>
                <a:gd name="T18" fmla="*/ 2147483647 w 213"/>
                <a:gd name="T19" fmla="*/ 2147483647 h 199"/>
                <a:gd name="T20" fmla="*/ 2147483647 w 213"/>
                <a:gd name="T21" fmla="*/ 0 h 199"/>
                <a:gd name="T22" fmla="*/ 2147483647 w 213"/>
                <a:gd name="T23" fmla="*/ 2147483647 h 199"/>
                <a:gd name="T24" fmla="*/ 2147483647 w 213"/>
                <a:gd name="T25" fmla="*/ 2147483647 h 199"/>
                <a:gd name="T26" fmla="*/ 2147483647 w 213"/>
                <a:gd name="T27" fmla="*/ 2147483647 h 199"/>
                <a:gd name="T28" fmla="*/ 2147483647 w 213"/>
                <a:gd name="T29" fmla="*/ 2147483647 h 199"/>
                <a:gd name="T30" fmla="*/ 2147483647 w 213"/>
                <a:gd name="T31" fmla="*/ 2147483647 h 199"/>
                <a:gd name="T32" fmla="*/ 2147483647 w 213"/>
                <a:gd name="T33" fmla="*/ 2147483647 h 199"/>
                <a:gd name="T34" fmla="*/ 2147483647 w 213"/>
                <a:gd name="T35" fmla="*/ 2147483647 h 199"/>
                <a:gd name="T36" fmla="*/ 2147483647 w 213"/>
                <a:gd name="T37" fmla="*/ 2147483647 h 199"/>
                <a:gd name="T38" fmla="*/ 2147483647 w 213"/>
                <a:gd name="T39" fmla="*/ 2147483647 h 199"/>
                <a:gd name="T40" fmla="*/ 2147483647 w 213"/>
                <a:gd name="T41" fmla="*/ 2147483647 h 199"/>
                <a:gd name="T42" fmla="*/ 2147483647 w 213"/>
                <a:gd name="T43" fmla="*/ 2147483647 h 199"/>
                <a:gd name="T44" fmla="*/ 2147483647 w 213"/>
                <a:gd name="T45" fmla="*/ 2147483647 h 199"/>
                <a:gd name="T46" fmla="*/ 2147483647 w 213"/>
                <a:gd name="T47" fmla="*/ 2147483647 h 199"/>
                <a:gd name="T48" fmla="*/ 2147483647 w 213"/>
                <a:gd name="T49" fmla="*/ 2147483647 h 199"/>
                <a:gd name="T50" fmla="*/ 2147483647 w 213"/>
                <a:gd name="T51" fmla="*/ 2147483647 h 199"/>
                <a:gd name="T52" fmla="*/ 2147483647 w 213"/>
                <a:gd name="T53" fmla="*/ 2147483647 h 199"/>
                <a:gd name="T54" fmla="*/ 2147483647 w 213"/>
                <a:gd name="T55" fmla="*/ 2147483647 h 199"/>
                <a:gd name="T56" fmla="*/ 2147483647 w 213"/>
                <a:gd name="T57" fmla="*/ 2147483647 h 199"/>
                <a:gd name="T58" fmla="*/ 2147483647 w 213"/>
                <a:gd name="T59" fmla="*/ 2147483647 h 199"/>
                <a:gd name="T60" fmla="*/ 2147483647 w 213"/>
                <a:gd name="T61" fmla="*/ 2147483647 h 199"/>
                <a:gd name="T62" fmla="*/ 2147483647 w 213"/>
                <a:gd name="T63" fmla="*/ 2147483647 h 199"/>
                <a:gd name="T64" fmla="*/ 2147483647 w 213"/>
                <a:gd name="T65" fmla="*/ 2147483647 h 199"/>
                <a:gd name="T66" fmla="*/ 2147483647 w 213"/>
                <a:gd name="T67" fmla="*/ 2147483647 h 199"/>
                <a:gd name="T68" fmla="*/ 2147483647 w 213"/>
                <a:gd name="T69" fmla="*/ 2147483647 h 199"/>
                <a:gd name="T70" fmla="*/ 2147483647 w 213"/>
                <a:gd name="T71" fmla="*/ 2147483647 h 199"/>
                <a:gd name="T72" fmla="*/ 2147483647 w 213"/>
                <a:gd name="T73" fmla="*/ 2147483647 h 199"/>
                <a:gd name="T74" fmla="*/ 2147483647 w 213"/>
                <a:gd name="T75" fmla="*/ 2147483647 h 199"/>
                <a:gd name="T76" fmla="*/ 2147483647 w 213"/>
                <a:gd name="T77" fmla="*/ 2147483647 h 199"/>
                <a:gd name="T78" fmla="*/ 2147483647 w 213"/>
                <a:gd name="T79" fmla="*/ 2147483647 h 199"/>
                <a:gd name="T80" fmla="*/ 2147483647 w 213"/>
                <a:gd name="T81" fmla="*/ 2147483647 h 199"/>
                <a:gd name="T82" fmla="*/ 2147483647 w 213"/>
                <a:gd name="T83" fmla="*/ 2147483647 h 199"/>
                <a:gd name="T84" fmla="*/ 2147483647 w 213"/>
                <a:gd name="T85" fmla="*/ 2147483647 h 199"/>
                <a:gd name="T86" fmla="*/ 2147483647 w 213"/>
                <a:gd name="T87" fmla="*/ 2147483647 h 199"/>
                <a:gd name="T88" fmla="*/ 2147483647 w 213"/>
                <a:gd name="T89" fmla="*/ 2147483647 h 199"/>
                <a:gd name="T90" fmla="*/ 2147483647 w 213"/>
                <a:gd name="T91" fmla="*/ 2147483647 h 199"/>
                <a:gd name="T92" fmla="*/ 0 w 213"/>
                <a:gd name="T93" fmla="*/ 2147483647 h 19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3"/>
                <a:gd name="T142" fmla="*/ 0 h 199"/>
                <a:gd name="T143" fmla="*/ 213 w 213"/>
                <a:gd name="T144" fmla="*/ 199 h 19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3" h="199">
                  <a:moveTo>
                    <a:pt x="0" y="142"/>
                  </a:moveTo>
                  <a:lnTo>
                    <a:pt x="8" y="129"/>
                  </a:lnTo>
                  <a:lnTo>
                    <a:pt x="12" y="80"/>
                  </a:lnTo>
                  <a:lnTo>
                    <a:pt x="21" y="67"/>
                  </a:lnTo>
                  <a:lnTo>
                    <a:pt x="25" y="50"/>
                  </a:lnTo>
                  <a:lnTo>
                    <a:pt x="15" y="44"/>
                  </a:lnTo>
                  <a:lnTo>
                    <a:pt x="12" y="34"/>
                  </a:lnTo>
                  <a:lnTo>
                    <a:pt x="3" y="33"/>
                  </a:lnTo>
                  <a:lnTo>
                    <a:pt x="21" y="20"/>
                  </a:lnTo>
                  <a:lnTo>
                    <a:pt x="35" y="19"/>
                  </a:lnTo>
                  <a:lnTo>
                    <a:pt x="64" y="0"/>
                  </a:lnTo>
                  <a:lnTo>
                    <a:pt x="78" y="10"/>
                  </a:lnTo>
                  <a:lnTo>
                    <a:pt x="96" y="11"/>
                  </a:lnTo>
                  <a:lnTo>
                    <a:pt x="120" y="5"/>
                  </a:lnTo>
                  <a:lnTo>
                    <a:pt x="126" y="4"/>
                  </a:lnTo>
                  <a:lnTo>
                    <a:pt x="127" y="24"/>
                  </a:lnTo>
                  <a:lnTo>
                    <a:pt x="134" y="33"/>
                  </a:lnTo>
                  <a:lnTo>
                    <a:pt x="139" y="43"/>
                  </a:lnTo>
                  <a:lnTo>
                    <a:pt x="152" y="45"/>
                  </a:lnTo>
                  <a:lnTo>
                    <a:pt x="166" y="51"/>
                  </a:lnTo>
                  <a:lnTo>
                    <a:pt x="195" y="53"/>
                  </a:lnTo>
                  <a:lnTo>
                    <a:pt x="205" y="54"/>
                  </a:lnTo>
                  <a:lnTo>
                    <a:pt x="213" y="59"/>
                  </a:lnTo>
                  <a:lnTo>
                    <a:pt x="213" y="73"/>
                  </a:lnTo>
                  <a:lnTo>
                    <a:pt x="201" y="84"/>
                  </a:lnTo>
                  <a:lnTo>
                    <a:pt x="185" y="89"/>
                  </a:lnTo>
                  <a:lnTo>
                    <a:pt x="153" y="85"/>
                  </a:lnTo>
                  <a:lnTo>
                    <a:pt x="133" y="92"/>
                  </a:lnTo>
                  <a:lnTo>
                    <a:pt x="124" y="96"/>
                  </a:lnTo>
                  <a:lnTo>
                    <a:pt x="105" y="97"/>
                  </a:lnTo>
                  <a:lnTo>
                    <a:pt x="96" y="114"/>
                  </a:lnTo>
                  <a:lnTo>
                    <a:pt x="78" y="131"/>
                  </a:lnTo>
                  <a:lnTo>
                    <a:pt x="68" y="145"/>
                  </a:lnTo>
                  <a:lnTo>
                    <a:pt x="53" y="154"/>
                  </a:lnTo>
                  <a:lnTo>
                    <a:pt x="37" y="171"/>
                  </a:lnTo>
                  <a:lnTo>
                    <a:pt x="27" y="190"/>
                  </a:lnTo>
                  <a:lnTo>
                    <a:pt x="15" y="199"/>
                  </a:lnTo>
                  <a:lnTo>
                    <a:pt x="13" y="184"/>
                  </a:lnTo>
                  <a:lnTo>
                    <a:pt x="10" y="171"/>
                  </a:lnTo>
                  <a:lnTo>
                    <a:pt x="28" y="160"/>
                  </a:lnTo>
                  <a:lnTo>
                    <a:pt x="47" y="151"/>
                  </a:lnTo>
                  <a:lnTo>
                    <a:pt x="57" y="140"/>
                  </a:lnTo>
                  <a:lnTo>
                    <a:pt x="47" y="135"/>
                  </a:lnTo>
                  <a:lnTo>
                    <a:pt x="40" y="144"/>
                  </a:lnTo>
                  <a:lnTo>
                    <a:pt x="26" y="144"/>
                  </a:lnTo>
                  <a:lnTo>
                    <a:pt x="14" y="150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0" name="Freeform 44"/>
            <p:cNvSpPr>
              <a:spLocks/>
            </p:cNvSpPr>
            <p:nvPr/>
          </p:nvSpPr>
          <p:spPr bwMode="auto">
            <a:xfrm>
              <a:off x="1169545" y="5204987"/>
              <a:ext cx="357451" cy="574086"/>
            </a:xfrm>
            <a:custGeom>
              <a:avLst/>
              <a:gdLst>
                <a:gd name="T0" fmla="*/ 2147483647 w 114"/>
                <a:gd name="T1" fmla="*/ 2147483647 h 224"/>
                <a:gd name="T2" fmla="*/ 2147483647 w 114"/>
                <a:gd name="T3" fmla="*/ 2147483647 h 224"/>
                <a:gd name="T4" fmla="*/ 2147483647 w 114"/>
                <a:gd name="T5" fmla="*/ 2147483647 h 224"/>
                <a:gd name="T6" fmla="*/ 2147483647 w 114"/>
                <a:gd name="T7" fmla="*/ 2147483647 h 224"/>
                <a:gd name="T8" fmla="*/ 2147483647 w 114"/>
                <a:gd name="T9" fmla="*/ 0 h 224"/>
                <a:gd name="T10" fmla="*/ 2147483647 w 114"/>
                <a:gd name="T11" fmla="*/ 2147483647 h 224"/>
                <a:gd name="T12" fmla="*/ 2147483647 w 114"/>
                <a:gd name="T13" fmla="*/ 2147483647 h 224"/>
                <a:gd name="T14" fmla="*/ 2147483647 w 114"/>
                <a:gd name="T15" fmla="*/ 2147483647 h 224"/>
                <a:gd name="T16" fmla="*/ 2147483647 w 114"/>
                <a:gd name="T17" fmla="*/ 2147483647 h 224"/>
                <a:gd name="T18" fmla="*/ 2147483647 w 114"/>
                <a:gd name="T19" fmla="*/ 2147483647 h 224"/>
                <a:gd name="T20" fmla="*/ 2147483647 w 114"/>
                <a:gd name="T21" fmla="*/ 2147483647 h 224"/>
                <a:gd name="T22" fmla="*/ 2147483647 w 114"/>
                <a:gd name="T23" fmla="*/ 2147483647 h 224"/>
                <a:gd name="T24" fmla="*/ 2147483647 w 114"/>
                <a:gd name="T25" fmla="*/ 2147483647 h 224"/>
                <a:gd name="T26" fmla="*/ 2147483647 w 114"/>
                <a:gd name="T27" fmla="*/ 2147483647 h 224"/>
                <a:gd name="T28" fmla="*/ 2147483647 w 114"/>
                <a:gd name="T29" fmla="*/ 2147483647 h 224"/>
                <a:gd name="T30" fmla="*/ 2147483647 w 114"/>
                <a:gd name="T31" fmla="*/ 2147483647 h 224"/>
                <a:gd name="T32" fmla="*/ 2147483647 w 114"/>
                <a:gd name="T33" fmla="*/ 2147483647 h 224"/>
                <a:gd name="T34" fmla="*/ 2147483647 w 114"/>
                <a:gd name="T35" fmla="*/ 2147483647 h 224"/>
                <a:gd name="T36" fmla="*/ 2147483647 w 114"/>
                <a:gd name="T37" fmla="*/ 2147483647 h 224"/>
                <a:gd name="T38" fmla="*/ 2147483647 w 114"/>
                <a:gd name="T39" fmla="*/ 2147483647 h 224"/>
                <a:gd name="T40" fmla="*/ 2147483647 w 114"/>
                <a:gd name="T41" fmla="*/ 2147483647 h 224"/>
                <a:gd name="T42" fmla="*/ 2147483647 w 114"/>
                <a:gd name="T43" fmla="*/ 2147483647 h 224"/>
                <a:gd name="T44" fmla="*/ 2147483647 w 114"/>
                <a:gd name="T45" fmla="*/ 2147483647 h 224"/>
                <a:gd name="T46" fmla="*/ 2147483647 w 114"/>
                <a:gd name="T47" fmla="*/ 2147483647 h 224"/>
                <a:gd name="T48" fmla="*/ 0 w 114"/>
                <a:gd name="T49" fmla="*/ 2147483647 h 224"/>
                <a:gd name="T50" fmla="*/ 2147483647 w 114"/>
                <a:gd name="T51" fmla="*/ 2147483647 h 22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4"/>
                <a:gd name="T79" fmla="*/ 0 h 224"/>
                <a:gd name="T80" fmla="*/ 114 w 114"/>
                <a:gd name="T81" fmla="*/ 224 h 22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4" h="224">
                  <a:moveTo>
                    <a:pt x="7" y="23"/>
                  </a:moveTo>
                  <a:lnTo>
                    <a:pt x="26" y="35"/>
                  </a:lnTo>
                  <a:lnTo>
                    <a:pt x="52" y="16"/>
                  </a:lnTo>
                  <a:lnTo>
                    <a:pt x="70" y="4"/>
                  </a:lnTo>
                  <a:lnTo>
                    <a:pt x="84" y="0"/>
                  </a:lnTo>
                  <a:lnTo>
                    <a:pt x="106" y="25"/>
                  </a:lnTo>
                  <a:lnTo>
                    <a:pt x="108" y="47"/>
                  </a:lnTo>
                  <a:lnTo>
                    <a:pt x="114" y="71"/>
                  </a:lnTo>
                  <a:lnTo>
                    <a:pt x="103" y="89"/>
                  </a:lnTo>
                  <a:lnTo>
                    <a:pt x="106" y="109"/>
                  </a:lnTo>
                  <a:lnTo>
                    <a:pt x="104" y="160"/>
                  </a:lnTo>
                  <a:lnTo>
                    <a:pt x="99" y="183"/>
                  </a:lnTo>
                  <a:lnTo>
                    <a:pt x="88" y="200"/>
                  </a:lnTo>
                  <a:lnTo>
                    <a:pt x="68" y="196"/>
                  </a:lnTo>
                  <a:lnTo>
                    <a:pt x="50" y="213"/>
                  </a:lnTo>
                  <a:lnTo>
                    <a:pt x="31" y="224"/>
                  </a:lnTo>
                  <a:lnTo>
                    <a:pt x="16" y="199"/>
                  </a:lnTo>
                  <a:lnTo>
                    <a:pt x="12" y="184"/>
                  </a:lnTo>
                  <a:lnTo>
                    <a:pt x="10" y="161"/>
                  </a:lnTo>
                  <a:lnTo>
                    <a:pt x="10" y="144"/>
                  </a:lnTo>
                  <a:lnTo>
                    <a:pt x="19" y="123"/>
                  </a:lnTo>
                  <a:lnTo>
                    <a:pt x="22" y="93"/>
                  </a:lnTo>
                  <a:lnTo>
                    <a:pt x="18" y="68"/>
                  </a:lnTo>
                  <a:lnTo>
                    <a:pt x="11" y="55"/>
                  </a:lnTo>
                  <a:lnTo>
                    <a:pt x="0" y="45"/>
                  </a:lnTo>
                  <a:lnTo>
                    <a:pt x="7" y="23"/>
                  </a:lnTo>
                  <a:close/>
                </a:path>
              </a:pathLst>
            </a:custGeom>
            <a:solidFill>
              <a:srgbClr val="EAEAEA"/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736" tIns="48868" rIns="97736" bIns="48868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1" name="Freeform 21"/>
            <p:cNvSpPr>
              <a:spLocks/>
            </p:cNvSpPr>
            <p:nvPr/>
          </p:nvSpPr>
          <p:spPr bwMode="auto">
            <a:xfrm>
              <a:off x="2527851" y="3819258"/>
              <a:ext cx="632688" cy="379423"/>
            </a:xfrm>
            <a:custGeom>
              <a:avLst/>
              <a:gdLst>
                <a:gd name="T0" fmla="*/ 2147483647 w 202"/>
                <a:gd name="T1" fmla="*/ 2147483647 h 147"/>
                <a:gd name="T2" fmla="*/ 2147483647 w 202"/>
                <a:gd name="T3" fmla="*/ 2147483647 h 147"/>
                <a:gd name="T4" fmla="*/ 2147483647 w 202"/>
                <a:gd name="T5" fmla="*/ 2147483647 h 147"/>
                <a:gd name="T6" fmla="*/ 2147483647 w 202"/>
                <a:gd name="T7" fmla="*/ 2147483647 h 147"/>
                <a:gd name="T8" fmla="*/ 2147483647 w 202"/>
                <a:gd name="T9" fmla="*/ 2147483647 h 147"/>
                <a:gd name="T10" fmla="*/ 2147483647 w 202"/>
                <a:gd name="T11" fmla="*/ 2147483647 h 147"/>
                <a:gd name="T12" fmla="*/ 2147483647 w 202"/>
                <a:gd name="T13" fmla="*/ 2147483647 h 147"/>
                <a:gd name="T14" fmla="*/ 2147483647 w 202"/>
                <a:gd name="T15" fmla="*/ 2147483647 h 147"/>
                <a:gd name="T16" fmla="*/ 2147483647 w 202"/>
                <a:gd name="T17" fmla="*/ 0 h 147"/>
                <a:gd name="T18" fmla="*/ 2147483647 w 202"/>
                <a:gd name="T19" fmla="*/ 2147483647 h 147"/>
                <a:gd name="T20" fmla="*/ 2147483647 w 202"/>
                <a:gd name="T21" fmla="*/ 2147483647 h 147"/>
                <a:gd name="T22" fmla="*/ 2147483647 w 202"/>
                <a:gd name="T23" fmla="*/ 2147483647 h 147"/>
                <a:gd name="T24" fmla="*/ 2147483647 w 202"/>
                <a:gd name="T25" fmla="*/ 2147483647 h 147"/>
                <a:gd name="T26" fmla="*/ 2147483647 w 202"/>
                <a:gd name="T27" fmla="*/ 2147483647 h 147"/>
                <a:gd name="T28" fmla="*/ 2147483647 w 202"/>
                <a:gd name="T29" fmla="*/ 2147483647 h 147"/>
                <a:gd name="T30" fmla="*/ 2147483647 w 202"/>
                <a:gd name="T31" fmla="*/ 2147483647 h 147"/>
                <a:gd name="T32" fmla="*/ 2147483647 w 202"/>
                <a:gd name="T33" fmla="*/ 2147483647 h 147"/>
                <a:gd name="T34" fmla="*/ 2147483647 w 202"/>
                <a:gd name="T35" fmla="*/ 2147483647 h 147"/>
                <a:gd name="T36" fmla="*/ 2147483647 w 202"/>
                <a:gd name="T37" fmla="*/ 2147483647 h 147"/>
                <a:gd name="T38" fmla="*/ 2147483647 w 202"/>
                <a:gd name="T39" fmla="*/ 2147483647 h 147"/>
                <a:gd name="T40" fmla="*/ 2147483647 w 202"/>
                <a:gd name="T41" fmla="*/ 2147483647 h 147"/>
                <a:gd name="T42" fmla="*/ 2147483647 w 202"/>
                <a:gd name="T43" fmla="*/ 2147483647 h 147"/>
                <a:gd name="T44" fmla="*/ 2147483647 w 202"/>
                <a:gd name="T45" fmla="*/ 2147483647 h 147"/>
                <a:gd name="T46" fmla="*/ 2147483647 w 202"/>
                <a:gd name="T47" fmla="*/ 2147483647 h 147"/>
                <a:gd name="T48" fmla="*/ 2147483647 w 202"/>
                <a:gd name="T49" fmla="*/ 2147483647 h 147"/>
                <a:gd name="T50" fmla="*/ 2147483647 w 202"/>
                <a:gd name="T51" fmla="*/ 2147483647 h 147"/>
                <a:gd name="T52" fmla="*/ 2147483647 w 202"/>
                <a:gd name="T53" fmla="*/ 2147483647 h 147"/>
                <a:gd name="T54" fmla="*/ 2147483647 w 202"/>
                <a:gd name="T55" fmla="*/ 2147483647 h 147"/>
                <a:gd name="T56" fmla="*/ 2147483647 w 202"/>
                <a:gd name="T57" fmla="*/ 2147483647 h 147"/>
                <a:gd name="T58" fmla="*/ 2147483647 w 202"/>
                <a:gd name="T59" fmla="*/ 2147483647 h 147"/>
                <a:gd name="T60" fmla="*/ 2147483647 w 202"/>
                <a:gd name="T61" fmla="*/ 2147483647 h 147"/>
                <a:gd name="T62" fmla="*/ 2147483647 w 202"/>
                <a:gd name="T63" fmla="*/ 2147483647 h 147"/>
                <a:gd name="T64" fmla="*/ 2147483647 w 202"/>
                <a:gd name="T65" fmla="*/ 2147483647 h 147"/>
                <a:gd name="T66" fmla="*/ 2147483647 w 202"/>
                <a:gd name="T67" fmla="*/ 2147483647 h 147"/>
                <a:gd name="T68" fmla="*/ 2147483647 w 202"/>
                <a:gd name="T69" fmla="*/ 2147483647 h 147"/>
                <a:gd name="T70" fmla="*/ 2147483647 w 202"/>
                <a:gd name="T71" fmla="*/ 2147483647 h 147"/>
                <a:gd name="T72" fmla="*/ 2147483647 w 202"/>
                <a:gd name="T73" fmla="*/ 2147483647 h 147"/>
                <a:gd name="T74" fmla="*/ 2147483647 w 202"/>
                <a:gd name="T75" fmla="*/ 2147483647 h 147"/>
                <a:gd name="T76" fmla="*/ 2147483647 w 202"/>
                <a:gd name="T77" fmla="*/ 2147483647 h 147"/>
                <a:gd name="T78" fmla="*/ 2147483647 w 202"/>
                <a:gd name="T79" fmla="*/ 2147483647 h 147"/>
                <a:gd name="T80" fmla="*/ 2147483647 w 202"/>
                <a:gd name="T81" fmla="*/ 2147483647 h 147"/>
                <a:gd name="T82" fmla="*/ 2147483647 w 202"/>
                <a:gd name="T83" fmla="*/ 2147483647 h 147"/>
                <a:gd name="T84" fmla="*/ 2147483647 w 202"/>
                <a:gd name="T85" fmla="*/ 2147483647 h 147"/>
                <a:gd name="T86" fmla="*/ 2147483647 w 202"/>
                <a:gd name="T87" fmla="*/ 2147483647 h 147"/>
                <a:gd name="T88" fmla="*/ 2147483647 w 202"/>
                <a:gd name="T89" fmla="*/ 2147483647 h 147"/>
                <a:gd name="T90" fmla="*/ 2147483647 w 202"/>
                <a:gd name="T91" fmla="*/ 2147483647 h 147"/>
                <a:gd name="T92" fmla="*/ 0 w 202"/>
                <a:gd name="T93" fmla="*/ 2147483647 h 147"/>
                <a:gd name="T94" fmla="*/ 2147483647 w 202"/>
                <a:gd name="T95" fmla="*/ 2147483647 h 147"/>
                <a:gd name="T96" fmla="*/ 2147483647 w 202"/>
                <a:gd name="T97" fmla="*/ 2147483647 h 147"/>
                <a:gd name="T98" fmla="*/ 2147483647 w 202"/>
                <a:gd name="T99" fmla="*/ 2147483647 h 14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2"/>
                <a:gd name="T151" fmla="*/ 0 h 147"/>
                <a:gd name="T152" fmla="*/ 202 w 202"/>
                <a:gd name="T153" fmla="*/ 147 h 14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2" h="147">
                  <a:moveTo>
                    <a:pt x="12" y="31"/>
                  </a:moveTo>
                  <a:lnTo>
                    <a:pt x="20" y="36"/>
                  </a:lnTo>
                  <a:lnTo>
                    <a:pt x="35" y="34"/>
                  </a:lnTo>
                  <a:lnTo>
                    <a:pt x="82" y="39"/>
                  </a:lnTo>
                  <a:lnTo>
                    <a:pt x="97" y="18"/>
                  </a:lnTo>
                  <a:lnTo>
                    <a:pt x="139" y="21"/>
                  </a:lnTo>
                  <a:lnTo>
                    <a:pt x="151" y="11"/>
                  </a:lnTo>
                  <a:lnTo>
                    <a:pt x="171" y="15"/>
                  </a:lnTo>
                  <a:lnTo>
                    <a:pt x="181" y="0"/>
                  </a:lnTo>
                  <a:lnTo>
                    <a:pt x="193" y="7"/>
                  </a:lnTo>
                  <a:lnTo>
                    <a:pt x="199" y="21"/>
                  </a:lnTo>
                  <a:lnTo>
                    <a:pt x="202" y="33"/>
                  </a:lnTo>
                  <a:lnTo>
                    <a:pt x="188" y="23"/>
                  </a:lnTo>
                  <a:lnTo>
                    <a:pt x="181" y="32"/>
                  </a:lnTo>
                  <a:lnTo>
                    <a:pt x="187" y="46"/>
                  </a:lnTo>
                  <a:lnTo>
                    <a:pt x="176" y="43"/>
                  </a:lnTo>
                  <a:lnTo>
                    <a:pt x="168" y="55"/>
                  </a:lnTo>
                  <a:lnTo>
                    <a:pt x="156" y="58"/>
                  </a:lnTo>
                  <a:lnTo>
                    <a:pt x="146" y="63"/>
                  </a:lnTo>
                  <a:lnTo>
                    <a:pt x="150" y="74"/>
                  </a:lnTo>
                  <a:lnTo>
                    <a:pt x="153" y="85"/>
                  </a:lnTo>
                  <a:lnTo>
                    <a:pt x="150" y="100"/>
                  </a:lnTo>
                  <a:lnTo>
                    <a:pt x="144" y="104"/>
                  </a:lnTo>
                  <a:lnTo>
                    <a:pt x="131" y="108"/>
                  </a:lnTo>
                  <a:lnTo>
                    <a:pt x="124" y="118"/>
                  </a:lnTo>
                  <a:lnTo>
                    <a:pt x="123" y="129"/>
                  </a:lnTo>
                  <a:lnTo>
                    <a:pt x="124" y="143"/>
                  </a:lnTo>
                  <a:lnTo>
                    <a:pt x="114" y="147"/>
                  </a:lnTo>
                  <a:lnTo>
                    <a:pt x="107" y="136"/>
                  </a:lnTo>
                  <a:lnTo>
                    <a:pt x="93" y="136"/>
                  </a:lnTo>
                  <a:lnTo>
                    <a:pt x="83" y="124"/>
                  </a:lnTo>
                  <a:lnTo>
                    <a:pt x="80" y="116"/>
                  </a:lnTo>
                  <a:lnTo>
                    <a:pt x="69" y="118"/>
                  </a:lnTo>
                  <a:lnTo>
                    <a:pt x="67" y="129"/>
                  </a:lnTo>
                  <a:lnTo>
                    <a:pt x="54" y="136"/>
                  </a:lnTo>
                  <a:lnTo>
                    <a:pt x="38" y="137"/>
                  </a:lnTo>
                  <a:lnTo>
                    <a:pt x="25" y="139"/>
                  </a:lnTo>
                  <a:lnTo>
                    <a:pt x="11" y="143"/>
                  </a:lnTo>
                  <a:lnTo>
                    <a:pt x="8" y="131"/>
                  </a:lnTo>
                  <a:lnTo>
                    <a:pt x="26" y="123"/>
                  </a:lnTo>
                  <a:lnTo>
                    <a:pt x="37" y="117"/>
                  </a:lnTo>
                  <a:lnTo>
                    <a:pt x="13" y="95"/>
                  </a:lnTo>
                  <a:lnTo>
                    <a:pt x="15" y="82"/>
                  </a:lnTo>
                  <a:lnTo>
                    <a:pt x="8" y="79"/>
                  </a:lnTo>
                  <a:lnTo>
                    <a:pt x="10" y="66"/>
                  </a:lnTo>
                  <a:lnTo>
                    <a:pt x="5" y="58"/>
                  </a:lnTo>
                  <a:lnTo>
                    <a:pt x="0" y="53"/>
                  </a:lnTo>
                  <a:lnTo>
                    <a:pt x="5" y="43"/>
                  </a:lnTo>
                  <a:lnTo>
                    <a:pt x="11" y="37"/>
                  </a:lnTo>
                  <a:lnTo>
                    <a:pt x="12" y="3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52" name="Freeform 143"/>
            <p:cNvSpPr>
              <a:spLocks/>
            </p:cNvSpPr>
            <p:nvPr/>
          </p:nvSpPr>
          <p:spPr bwMode="auto">
            <a:xfrm>
              <a:off x="5451788" y="4660593"/>
              <a:ext cx="2276953" cy="1280144"/>
            </a:xfrm>
            <a:custGeom>
              <a:avLst/>
              <a:gdLst>
                <a:gd name="T0" fmla="*/ 2147483647 w 556"/>
                <a:gd name="T1" fmla="*/ 2147483647 h 277"/>
                <a:gd name="T2" fmla="*/ 2147483647 w 556"/>
                <a:gd name="T3" fmla="*/ 2147483647 h 277"/>
                <a:gd name="T4" fmla="*/ 2147483647 w 556"/>
                <a:gd name="T5" fmla="*/ 2147483647 h 277"/>
                <a:gd name="T6" fmla="*/ 2147483647 w 556"/>
                <a:gd name="T7" fmla="*/ 2147483647 h 277"/>
                <a:gd name="T8" fmla="*/ 2147483647 w 556"/>
                <a:gd name="T9" fmla="*/ 2147483647 h 277"/>
                <a:gd name="T10" fmla="*/ 2147483647 w 556"/>
                <a:gd name="T11" fmla="*/ 2147483647 h 277"/>
                <a:gd name="T12" fmla="*/ 2147483647 w 556"/>
                <a:gd name="T13" fmla="*/ 2147483647 h 277"/>
                <a:gd name="T14" fmla="*/ 2147483647 w 556"/>
                <a:gd name="T15" fmla="*/ 2147483647 h 277"/>
                <a:gd name="T16" fmla="*/ 2147483647 w 556"/>
                <a:gd name="T17" fmla="*/ 2147483647 h 277"/>
                <a:gd name="T18" fmla="*/ 2147483647 w 556"/>
                <a:gd name="T19" fmla="*/ 2147483647 h 277"/>
                <a:gd name="T20" fmla="*/ 2147483647 w 556"/>
                <a:gd name="T21" fmla="*/ 2147483647 h 277"/>
                <a:gd name="T22" fmla="*/ 2147483647 w 556"/>
                <a:gd name="T23" fmla="*/ 2147483647 h 277"/>
                <a:gd name="T24" fmla="*/ 2147483647 w 556"/>
                <a:gd name="T25" fmla="*/ 2147483647 h 277"/>
                <a:gd name="T26" fmla="*/ 2147483647 w 556"/>
                <a:gd name="T27" fmla="*/ 2147483647 h 277"/>
                <a:gd name="T28" fmla="*/ 2147483647 w 556"/>
                <a:gd name="T29" fmla="*/ 2147483647 h 277"/>
                <a:gd name="T30" fmla="*/ 2147483647 w 556"/>
                <a:gd name="T31" fmla="*/ 2147483647 h 277"/>
                <a:gd name="T32" fmla="*/ 2147483647 w 556"/>
                <a:gd name="T33" fmla="*/ 2147483647 h 277"/>
                <a:gd name="T34" fmla="*/ 2147483647 w 556"/>
                <a:gd name="T35" fmla="*/ 2147483647 h 277"/>
                <a:gd name="T36" fmla="*/ 2147483647 w 556"/>
                <a:gd name="T37" fmla="*/ 2147483647 h 277"/>
                <a:gd name="T38" fmla="*/ 2147483647 w 556"/>
                <a:gd name="T39" fmla="*/ 2147483647 h 277"/>
                <a:gd name="T40" fmla="*/ 2147483647 w 556"/>
                <a:gd name="T41" fmla="*/ 2147483647 h 277"/>
                <a:gd name="T42" fmla="*/ 2147483647 w 556"/>
                <a:gd name="T43" fmla="*/ 2147483647 h 277"/>
                <a:gd name="T44" fmla="*/ 2147483647 w 556"/>
                <a:gd name="T45" fmla="*/ 2147483647 h 277"/>
                <a:gd name="T46" fmla="*/ 2147483647 w 556"/>
                <a:gd name="T47" fmla="*/ 2147483647 h 277"/>
                <a:gd name="T48" fmla="*/ 2147483647 w 556"/>
                <a:gd name="T49" fmla="*/ 2147483647 h 277"/>
                <a:gd name="T50" fmla="*/ 2147483647 w 556"/>
                <a:gd name="T51" fmla="*/ 2147483647 h 277"/>
                <a:gd name="T52" fmla="*/ 2147483647 w 556"/>
                <a:gd name="T53" fmla="*/ 2147483647 h 277"/>
                <a:gd name="T54" fmla="*/ 2147483647 w 556"/>
                <a:gd name="T55" fmla="*/ 2147483647 h 277"/>
                <a:gd name="T56" fmla="*/ 2147483647 w 556"/>
                <a:gd name="T57" fmla="*/ 2147483647 h 277"/>
                <a:gd name="T58" fmla="*/ 2147483647 w 556"/>
                <a:gd name="T59" fmla="*/ 2147483647 h 277"/>
                <a:gd name="T60" fmla="*/ 2147483647 w 556"/>
                <a:gd name="T61" fmla="*/ 2147483647 h 277"/>
                <a:gd name="T62" fmla="*/ 2147483647 w 556"/>
                <a:gd name="T63" fmla="*/ 2147483647 h 277"/>
                <a:gd name="T64" fmla="*/ 2147483647 w 556"/>
                <a:gd name="T65" fmla="*/ 2147483647 h 277"/>
                <a:gd name="T66" fmla="*/ 2147483647 w 556"/>
                <a:gd name="T67" fmla="*/ 2147483647 h 277"/>
                <a:gd name="T68" fmla="*/ 2147483647 w 556"/>
                <a:gd name="T69" fmla="*/ 2147483647 h 277"/>
                <a:gd name="T70" fmla="*/ 2147483647 w 556"/>
                <a:gd name="T71" fmla="*/ 2147483647 h 277"/>
                <a:gd name="T72" fmla="*/ 2147483647 w 556"/>
                <a:gd name="T73" fmla="*/ 2147483647 h 277"/>
                <a:gd name="T74" fmla="*/ 2147483647 w 556"/>
                <a:gd name="T75" fmla="*/ 2147483647 h 277"/>
                <a:gd name="T76" fmla="*/ 2147483647 w 556"/>
                <a:gd name="T77" fmla="*/ 2147483647 h 277"/>
                <a:gd name="T78" fmla="*/ 2147483647 w 556"/>
                <a:gd name="T79" fmla="*/ 2147483647 h 277"/>
                <a:gd name="T80" fmla="*/ 2147483647 w 556"/>
                <a:gd name="T81" fmla="*/ 2147483647 h 277"/>
                <a:gd name="T82" fmla="*/ 2147483647 w 556"/>
                <a:gd name="T83" fmla="*/ 2147483647 h 277"/>
                <a:gd name="T84" fmla="*/ 2147483647 w 556"/>
                <a:gd name="T85" fmla="*/ 2147483647 h 277"/>
                <a:gd name="T86" fmla="*/ 2147483647 w 556"/>
                <a:gd name="T87" fmla="*/ 2147483647 h 27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56"/>
                <a:gd name="T133" fmla="*/ 0 h 277"/>
                <a:gd name="T134" fmla="*/ 556 w 556"/>
                <a:gd name="T135" fmla="*/ 277 h 277"/>
                <a:gd name="connsiteX0" fmla="*/ 9820 w 10000"/>
                <a:gd name="connsiteY0" fmla="*/ 4206 h 9657"/>
                <a:gd name="connsiteX1" fmla="*/ 10000 w 10000"/>
                <a:gd name="connsiteY1" fmla="*/ 4747 h 9657"/>
                <a:gd name="connsiteX2" fmla="*/ 9766 w 10000"/>
                <a:gd name="connsiteY2" fmla="*/ 5108 h 9657"/>
                <a:gd name="connsiteX3" fmla="*/ 9227 w 10000"/>
                <a:gd name="connsiteY3" fmla="*/ 5000 h 9657"/>
                <a:gd name="connsiteX4" fmla="*/ 8903 w 10000"/>
                <a:gd name="connsiteY4" fmla="*/ 5397 h 9657"/>
                <a:gd name="connsiteX5" fmla="*/ 8687 w 10000"/>
                <a:gd name="connsiteY5" fmla="*/ 5469 h 9657"/>
                <a:gd name="connsiteX6" fmla="*/ 8237 w 10000"/>
                <a:gd name="connsiteY6" fmla="*/ 5939 h 9657"/>
                <a:gd name="connsiteX7" fmla="*/ 7788 w 10000"/>
                <a:gd name="connsiteY7" fmla="*/ 6444 h 9657"/>
                <a:gd name="connsiteX8" fmla="*/ 7230 w 10000"/>
                <a:gd name="connsiteY8" fmla="*/ 7058 h 9657"/>
                <a:gd name="connsiteX9" fmla="*/ 6727 w 10000"/>
                <a:gd name="connsiteY9" fmla="*/ 6986 h 9657"/>
                <a:gd name="connsiteX10" fmla="*/ 6313 w 10000"/>
                <a:gd name="connsiteY10" fmla="*/ 7527 h 9657"/>
                <a:gd name="connsiteX11" fmla="*/ 5935 w 10000"/>
                <a:gd name="connsiteY11" fmla="*/ 7491 h 9657"/>
                <a:gd name="connsiteX12" fmla="*/ 5881 w 10000"/>
                <a:gd name="connsiteY12" fmla="*/ 7852 h 9657"/>
                <a:gd name="connsiteX13" fmla="*/ 5971 w 10000"/>
                <a:gd name="connsiteY13" fmla="*/ 8285 h 9657"/>
                <a:gd name="connsiteX14" fmla="*/ 5809 w 10000"/>
                <a:gd name="connsiteY14" fmla="*/ 8718 h 9657"/>
                <a:gd name="connsiteX15" fmla="*/ 5737 w 10000"/>
                <a:gd name="connsiteY15" fmla="*/ 8935 h 9657"/>
                <a:gd name="connsiteX16" fmla="*/ 5558 w 10000"/>
                <a:gd name="connsiteY16" fmla="*/ 8971 h 9657"/>
                <a:gd name="connsiteX17" fmla="*/ 5576 w 10000"/>
                <a:gd name="connsiteY17" fmla="*/ 8646 h 9657"/>
                <a:gd name="connsiteX18" fmla="*/ 5486 w 10000"/>
                <a:gd name="connsiteY18" fmla="*/ 8321 h 9657"/>
                <a:gd name="connsiteX19" fmla="*/ 5629 w 10000"/>
                <a:gd name="connsiteY19" fmla="*/ 7852 h 9657"/>
                <a:gd name="connsiteX20" fmla="*/ 5576 w 10000"/>
                <a:gd name="connsiteY20" fmla="*/ 7455 h 9657"/>
                <a:gd name="connsiteX21" fmla="*/ 5288 w 10000"/>
                <a:gd name="connsiteY21" fmla="*/ 7996 h 9657"/>
                <a:gd name="connsiteX22" fmla="*/ 4838 w 10000"/>
                <a:gd name="connsiteY22" fmla="*/ 7888 h 9657"/>
                <a:gd name="connsiteX23" fmla="*/ 4514 w 10000"/>
                <a:gd name="connsiteY23" fmla="*/ 8574 h 9657"/>
                <a:gd name="connsiteX24" fmla="*/ 4335 w 10000"/>
                <a:gd name="connsiteY24" fmla="*/ 8899 h 9657"/>
                <a:gd name="connsiteX25" fmla="*/ 3867 w 10000"/>
                <a:gd name="connsiteY25" fmla="*/ 9260 h 9657"/>
                <a:gd name="connsiteX26" fmla="*/ 3471 w 10000"/>
                <a:gd name="connsiteY26" fmla="*/ 8682 h 9657"/>
                <a:gd name="connsiteX27" fmla="*/ 2734 w 10000"/>
                <a:gd name="connsiteY27" fmla="*/ 8466 h 9657"/>
                <a:gd name="connsiteX28" fmla="*/ 2644 w 10000"/>
                <a:gd name="connsiteY28" fmla="*/ 9404 h 9657"/>
                <a:gd name="connsiteX29" fmla="*/ 2320 w 10000"/>
                <a:gd name="connsiteY29" fmla="*/ 9549 h 9657"/>
                <a:gd name="connsiteX30" fmla="*/ 1906 w 10000"/>
                <a:gd name="connsiteY30" fmla="*/ 9260 h 9657"/>
                <a:gd name="connsiteX31" fmla="*/ 1745 w 10000"/>
                <a:gd name="connsiteY31" fmla="*/ 8971 h 9657"/>
                <a:gd name="connsiteX32" fmla="*/ 1493 w 10000"/>
                <a:gd name="connsiteY32" fmla="*/ 8971 h 9657"/>
                <a:gd name="connsiteX33" fmla="*/ 1295 w 10000"/>
                <a:gd name="connsiteY33" fmla="*/ 9224 h 9657"/>
                <a:gd name="connsiteX34" fmla="*/ 1187 w 10000"/>
                <a:gd name="connsiteY34" fmla="*/ 8718 h 9657"/>
                <a:gd name="connsiteX35" fmla="*/ 863 w 10000"/>
                <a:gd name="connsiteY35" fmla="*/ 8718 h 9657"/>
                <a:gd name="connsiteX36" fmla="*/ 773 w 10000"/>
                <a:gd name="connsiteY36" fmla="*/ 7563 h 9657"/>
                <a:gd name="connsiteX37" fmla="*/ 270 w 10000"/>
                <a:gd name="connsiteY37" fmla="*/ 7202 h 9657"/>
                <a:gd name="connsiteX38" fmla="*/ 90 w 10000"/>
                <a:gd name="connsiteY38" fmla="*/ 7383 h 9657"/>
                <a:gd name="connsiteX39" fmla="*/ 72 w 10000"/>
                <a:gd name="connsiteY39" fmla="*/ 6769 h 9657"/>
                <a:gd name="connsiteX40" fmla="*/ 468 w 10000"/>
                <a:gd name="connsiteY40" fmla="*/ 6625 h 9657"/>
                <a:gd name="connsiteX41" fmla="*/ 540 w 10000"/>
                <a:gd name="connsiteY41" fmla="*/ 6083 h 9657"/>
                <a:gd name="connsiteX42" fmla="*/ 522 w 10000"/>
                <a:gd name="connsiteY42" fmla="*/ 5578 h 9657"/>
                <a:gd name="connsiteX43" fmla="*/ 126 w 10000"/>
                <a:gd name="connsiteY43" fmla="*/ 5650 h 9657"/>
                <a:gd name="connsiteX44" fmla="*/ 216 w 10000"/>
                <a:gd name="connsiteY44" fmla="*/ 4856 h 9657"/>
                <a:gd name="connsiteX45" fmla="*/ 450 w 10000"/>
                <a:gd name="connsiteY45" fmla="*/ 4422 h 9657"/>
                <a:gd name="connsiteX46" fmla="*/ 719 w 10000"/>
                <a:gd name="connsiteY46" fmla="*/ 4278 h 9657"/>
                <a:gd name="connsiteX47" fmla="*/ 1079 w 10000"/>
                <a:gd name="connsiteY47" fmla="*/ 4134 h 9657"/>
                <a:gd name="connsiteX48" fmla="*/ 1565 w 10000"/>
                <a:gd name="connsiteY48" fmla="*/ 4134 h 9657"/>
                <a:gd name="connsiteX49" fmla="*/ 1547 w 10000"/>
                <a:gd name="connsiteY49" fmla="*/ 3809 h 9657"/>
                <a:gd name="connsiteX50" fmla="*/ 1942 w 10000"/>
                <a:gd name="connsiteY50" fmla="*/ 3592 h 9657"/>
                <a:gd name="connsiteX51" fmla="*/ 1601 w 10000"/>
                <a:gd name="connsiteY51" fmla="*/ 3231 h 9657"/>
                <a:gd name="connsiteX52" fmla="*/ 1709 w 10000"/>
                <a:gd name="connsiteY52" fmla="*/ 3014 h 9657"/>
                <a:gd name="connsiteX53" fmla="*/ 2626 w 10000"/>
                <a:gd name="connsiteY53" fmla="*/ 2870 h 9657"/>
                <a:gd name="connsiteX54" fmla="*/ 2752 w 10000"/>
                <a:gd name="connsiteY54" fmla="*/ 2509 h 9657"/>
                <a:gd name="connsiteX55" fmla="*/ 3291 w 10000"/>
                <a:gd name="connsiteY55" fmla="*/ 1606 h 9657"/>
                <a:gd name="connsiteX56" fmla="*/ 3795 w 10000"/>
                <a:gd name="connsiteY56" fmla="*/ 1282 h 9657"/>
                <a:gd name="connsiteX57" fmla="*/ 4209 w 10000"/>
                <a:gd name="connsiteY57" fmla="*/ 1137 h 9657"/>
                <a:gd name="connsiteX58" fmla="*/ 4353 w 10000"/>
                <a:gd name="connsiteY58" fmla="*/ 848 h 9657"/>
                <a:gd name="connsiteX59" fmla="*/ 4514 w 10000"/>
                <a:gd name="connsiteY59" fmla="*/ 921 h 9657"/>
                <a:gd name="connsiteX60" fmla="*/ 4514 w 10000"/>
                <a:gd name="connsiteY60" fmla="*/ 1245 h 9657"/>
                <a:gd name="connsiteX61" fmla="*/ 4730 w 10000"/>
                <a:gd name="connsiteY61" fmla="*/ 1390 h 9657"/>
                <a:gd name="connsiteX62" fmla="*/ 4910 w 10000"/>
                <a:gd name="connsiteY62" fmla="*/ 1137 h 9657"/>
                <a:gd name="connsiteX63" fmla="*/ 5036 w 10000"/>
                <a:gd name="connsiteY63" fmla="*/ 1318 h 9657"/>
                <a:gd name="connsiteX64" fmla="*/ 5108 w 10000"/>
                <a:gd name="connsiteY64" fmla="*/ 1606 h 9657"/>
                <a:gd name="connsiteX65" fmla="*/ 5252 w 10000"/>
                <a:gd name="connsiteY65" fmla="*/ 1715 h 9657"/>
                <a:gd name="connsiteX66" fmla="*/ 5342 w 10000"/>
                <a:gd name="connsiteY66" fmla="*/ 1462 h 9657"/>
                <a:gd name="connsiteX67" fmla="*/ 5486 w 10000"/>
                <a:gd name="connsiteY67" fmla="*/ 1534 h 9657"/>
                <a:gd name="connsiteX68" fmla="*/ 5576 w 10000"/>
                <a:gd name="connsiteY68" fmla="*/ 1715 h 9657"/>
                <a:gd name="connsiteX69" fmla="*/ 6097 w 10000"/>
                <a:gd name="connsiteY69" fmla="*/ 1787 h 9657"/>
                <a:gd name="connsiteX70" fmla="*/ 6673 w 10000"/>
                <a:gd name="connsiteY70" fmla="*/ 1209 h 9657"/>
                <a:gd name="connsiteX71" fmla="*/ 7068 w 10000"/>
                <a:gd name="connsiteY71" fmla="*/ 1282 h 9657"/>
                <a:gd name="connsiteX72" fmla="*/ 7590 w 10000"/>
                <a:gd name="connsiteY72" fmla="*/ 307 h 9657"/>
                <a:gd name="connsiteX73" fmla="*/ 7644 w 10000"/>
                <a:gd name="connsiteY73" fmla="*/ 90 h 9657"/>
                <a:gd name="connsiteX74" fmla="*/ 7698 w 10000"/>
                <a:gd name="connsiteY74" fmla="*/ 54 h 9657"/>
                <a:gd name="connsiteX75" fmla="*/ 8597 w 10000"/>
                <a:gd name="connsiteY75" fmla="*/ 18 h 9657"/>
                <a:gd name="connsiteX76" fmla="*/ 8687 w 10000"/>
                <a:gd name="connsiteY76" fmla="*/ 162 h 9657"/>
                <a:gd name="connsiteX77" fmla="*/ 8687 w 10000"/>
                <a:gd name="connsiteY77" fmla="*/ 162 h 9657"/>
                <a:gd name="connsiteX78" fmla="*/ 8813 w 10000"/>
                <a:gd name="connsiteY78" fmla="*/ 523 h 9657"/>
                <a:gd name="connsiteX79" fmla="*/ 8885 w 10000"/>
                <a:gd name="connsiteY79" fmla="*/ 1245 h 9657"/>
                <a:gd name="connsiteX80" fmla="*/ 9245 w 10000"/>
                <a:gd name="connsiteY80" fmla="*/ 1209 h 9657"/>
                <a:gd name="connsiteX81" fmla="*/ 9406 w 10000"/>
                <a:gd name="connsiteY81" fmla="*/ 1570 h 9657"/>
                <a:gd name="connsiteX82" fmla="*/ 9371 w 10000"/>
                <a:gd name="connsiteY82" fmla="*/ 2004 h 9657"/>
                <a:gd name="connsiteX83" fmla="*/ 9245 w 10000"/>
                <a:gd name="connsiteY83" fmla="*/ 2148 h 9657"/>
                <a:gd name="connsiteX84" fmla="*/ 9604 w 10000"/>
                <a:gd name="connsiteY84" fmla="*/ 3231 h 9657"/>
                <a:gd name="connsiteX85" fmla="*/ 9586 w 10000"/>
                <a:gd name="connsiteY85" fmla="*/ 3917 h 9657"/>
                <a:gd name="connsiteX86" fmla="*/ 9820 w 10000"/>
                <a:gd name="connsiteY86" fmla="*/ 4206 h 9657"/>
                <a:gd name="connsiteX0" fmla="*/ 9820 w 10000"/>
                <a:gd name="connsiteY0" fmla="*/ 4299 h 9944"/>
                <a:gd name="connsiteX1" fmla="*/ 10000 w 10000"/>
                <a:gd name="connsiteY1" fmla="*/ 4860 h 9944"/>
                <a:gd name="connsiteX2" fmla="*/ 9766 w 10000"/>
                <a:gd name="connsiteY2" fmla="*/ 5233 h 9944"/>
                <a:gd name="connsiteX3" fmla="*/ 9227 w 10000"/>
                <a:gd name="connsiteY3" fmla="*/ 5122 h 9944"/>
                <a:gd name="connsiteX4" fmla="*/ 8903 w 10000"/>
                <a:gd name="connsiteY4" fmla="*/ 5533 h 9944"/>
                <a:gd name="connsiteX5" fmla="*/ 8687 w 10000"/>
                <a:gd name="connsiteY5" fmla="*/ 5607 h 9944"/>
                <a:gd name="connsiteX6" fmla="*/ 8237 w 10000"/>
                <a:gd name="connsiteY6" fmla="*/ 6094 h 9944"/>
                <a:gd name="connsiteX7" fmla="*/ 7788 w 10000"/>
                <a:gd name="connsiteY7" fmla="*/ 6617 h 9944"/>
                <a:gd name="connsiteX8" fmla="*/ 7230 w 10000"/>
                <a:gd name="connsiteY8" fmla="*/ 7253 h 9944"/>
                <a:gd name="connsiteX9" fmla="*/ 6727 w 10000"/>
                <a:gd name="connsiteY9" fmla="*/ 7178 h 9944"/>
                <a:gd name="connsiteX10" fmla="*/ 6313 w 10000"/>
                <a:gd name="connsiteY10" fmla="*/ 7738 h 9944"/>
                <a:gd name="connsiteX11" fmla="*/ 5935 w 10000"/>
                <a:gd name="connsiteY11" fmla="*/ 7701 h 9944"/>
                <a:gd name="connsiteX12" fmla="*/ 5881 w 10000"/>
                <a:gd name="connsiteY12" fmla="*/ 8075 h 9944"/>
                <a:gd name="connsiteX13" fmla="*/ 5971 w 10000"/>
                <a:gd name="connsiteY13" fmla="*/ 8523 h 9944"/>
                <a:gd name="connsiteX14" fmla="*/ 5809 w 10000"/>
                <a:gd name="connsiteY14" fmla="*/ 8972 h 9944"/>
                <a:gd name="connsiteX15" fmla="*/ 5737 w 10000"/>
                <a:gd name="connsiteY15" fmla="*/ 9196 h 9944"/>
                <a:gd name="connsiteX16" fmla="*/ 5558 w 10000"/>
                <a:gd name="connsiteY16" fmla="*/ 9234 h 9944"/>
                <a:gd name="connsiteX17" fmla="*/ 5576 w 10000"/>
                <a:gd name="connsiteY17" fmla="*/ 8897 h 9944"/>
                <a:gd name="connsiteX18" fmla="*/ 5486 w 10000"/>
                <a:gd name="connsiteY18" fmla="*/ 8561 h 9944"/>
                <a:gd name="connsiteX19" fmla="*/ 5629 w 10000"/>
                <a:gd name="connsiteY19" fmla="*/ 8075 h 9944"/>
                <a:gd name="connsiteX20" fmla="*/ 5576 w 10000"/>
                <a:gd name="connsiteY20" fmla="*/ 7664 h 9944"/>
                <a:gd name="connsiteX21" fmla="*/ 5288 w 10000"/>
                <a:gd name="connsiteY21" fmla="*/ 8224 h 9944"/>
                <a:gd name="connsiteX22" fmla="*/ 4838 w 10000"/>
                <a:gd name="connsiteY22" fmla="*/ 8112 h 9944"/>
                <a:gd name="connsiteX23" fmla="*/ 4514 w 10000"/>
                <a:gd name="connsiteY23" fmla="*/ 8823 h 9944"/>
                <a:gd name="connsiteX24" fmla="*/ 4335 w 10000"/>
                <a:gd name="connsiteY24" fmla="*/ 9159 h 9944"/>
                <a:gd name="connsiteX25" fmla="*/ 3867 w 10000"/>
                <a:gd name="connsiteY25" fmla="*/ 9533 h 9944"/>
                <a:gd name="connsiteX26" fmla="*/ 3471 w 10000"/>
                <a:gd name="connsiteY26" fmla="*/ 8934 h 9944"/>
                <a:gd name="connsiteX27" fmla="*/ 2734 w 10000"/>
                <a:gd name="connsiteY27" fmla="*/ 8711 h 9944"/>
                <a:gd name="connsiteX28" fmla="*/ 2644 w 10000"/>
                <a:gd name="connsiteY28" fmla="*/ 9682 h 9944"/>
                <a:gd name="connsiteX29" fmla="*/ 2320 w 10000"/>
                <a:gd name="connsiteY29" fmla="*/ 9832 h 9944"/>
                <a:gd name="connsiteX30" fmla="*/ 1906 w 10000"/>
                <a:gd name="connsiteY30" fmla="*/ 9533 h 9944"/>
                <a:gd name="connsiteX31" fmla="*/ 1745 w 10000"/>
                <a:gd name="connsiteY31" fmla="*/ 9234 h 9944"/>
                <a:gd name="connsiteX32" fmla="*/ 1493 w 10000"/>
                <a:gd name="connsiteY32" fmla="*/ 9234 h 9944"/>
                <a:gd name="connsiteX33" fmla="*/ 1295 w 10000"/>
                <a:gd name="connsiteY33" fmla="*/ 9496 h 9944"/>
                <a:gd name="connsiteX34" fmla="*/ 1187 w 10000"/>
                <a:gd name="connsiteY34" fmla="*/ 8972 h 9944"/>
                <a:gd name="connsiteX35" fmla="*/ 863 w 10000"/>
                <a:gd name="connsiteY35" fmla="*/ 8972 h 9944"/>
                <a:gd name="connsiteX36" fmla="*/ 773 w 10000"/>
                <a:gd name="connsiteY36" fmla="*/ 7776 h 9944"/>
                <a:gd name="connsiteX37" fmla="*/ 270 w 10000"/>
                <a:gd name="connsiteY37" fmla="*/ 7402 h 9944"/>
                <a:gd name="connsiteX38" fmla="*/ 90 w 10000"/>
                <a:gd name="connsiteY38" fmla="*/ 7589 h 9944"/>
                <a:gd name="connsiteX39" fmla="*/ 72 w 10000"/>
                <a:gd name="connsiteY39" fmla="*/ 6953 h 9944"/>
                <a:gd name="connsiteX40" fmla="*/ 468 w 10000"/>
                <a:gd name="connsiteY40" fmla="*/ 6804 h 9944"/>
                <a:gd name="connsiteX41" fmla="*/ 540 w 10000"/>
                <a:gd name="connsiteY41" fmla="*/ 6243 h 9944"/>
                <a:gd name="connsiteX42" fmla="*/ 522 w 10000"/>
                <a:gd name="connsiteY42" fmla="*/ 5720 h 9944"/>
                <a:gd name="connsiteX43" fmla="*/ 126 w 10000"/>
                <a:gd name="connsiteY43" fmla="*/ 5795 h 9944"/>
                <a:gd name="connsiteX44" fmla="*/ 216 w 10000"/>
                <a:gd name="connsiteY44" fmla="*/ 4972 h 9944"/>
                <a:gd name="connsiteX45" fmla="*/ 450 w 10000"/>
                <a:gd name="connsiteY45" fmla="*/ 4523 h 9944"/>
                <a:gd name="connsiteX46" fmla="*/ 719 w 10000"/>
                <a:gd name="connsiteY46" fmla="*/ 4374 h 9944"/>
                <a:gd name="connsiteX47" fmla="*/ 1079 w 10000"/>
                <a:gd name="connsiteY47" fmla="*/ 4225 h 9944"/>
                <a:gd name="connsiteX48" fmla="*/ 1565 w 10000"/>
                <a:gd name="connsiteY48" fmla="*/ 4225 h 9944"/>
                <a:gd name="connsiteX49" fmla="*/ 1547 w 10000"/>
                <a:gd name="connsiteY49" fmla="*/ 3888 h 9944"/>
                <a:gd name="connsiteX50" fmla="*/ 1942 w 10000"/>
                <a:gd name="connsiteY50" fmla="*/ 3664 h 9944"/>
                <a:gd name="connsiteX51" fmla="*/ 1601 w 10000"/>
                <a:gd name="connsiteY51" fmla="*/ 3290 h 9944"/>
                <a:gd name="connsiteX52" fmla="*/ 1709 w 10000"/>
                <a:gd name="connsiteY52" fmla="*/ 3065 h 9944"/>
                <a:gd name="connsiteX53" fmla="*/ 2626 w 10000"/>
                <a:gd name="connsiteY53" fmla="*/ 2916 h 9944"/>
                <a:gd name="connsiteX54" fmla="*/ 2752 w 10000"/>
                <a:gd name="connsiteY54" fmla="*/ 2542 h 9944"/>
                <a:gd name="connsiteX55" fmla="*/ 3291 w 10000"/>
                <a:gd name="connsiteY55" fmla="*/ 1607 h 9944"/>
                <a:gd name="connsiteX56" fmla="*/ 3795 w 10000"/>
                <a:gd name="connsiteY56" fmla="*/ 1272 h 9944"/>
                <a:gd name="connsiteX57" fmla="*/ 4209 w 10000"/>
                <a:gd name="connsiteY57" fmla="*/ 1121 h 9944"/>
                <a:gd name="connsiteX58" fmla="*/ 4353 w 10000"/>
                <a:gd name="connsiteY58" fmla="*/ 822 h 9944"/>
                <a:gd name="connsiteX59" fmla="*/ 4514 w 10000"/>
                <a:gd name="connsiteY59" fmla="*/ 898 h 9944"/>
                <a:gd name="connsiteX60" fmla="*/ 4514 w 10000"/>
                <a:gd name="connsiteY60" fmla="*/ 1233 h 9944"/>
                <a:gd name="connsiteX61" fmla="*/ 4730 w 10000"/>
                <a:gd name="connsiteY61" fmla="*/ 1383 h 9944"/>
                <a:gd name="connsiteX62" fmla="*/ 4910 w 10000"/>
                <a:gd name="connsiteY62" fmla="*/ 1121 h 9944"/>
                <a:gd name="connsiteX63" fmla="*/ 5036 w 10000"/>
                <a:gd name="connsiteY63" fmla="*/ 1309 h 9944"/>
                <a:gd name="connsiteX64" fmla="*/ 5108 w 10000"/>
                <a:gd name="connsiteY64" fmla="*/ 1607 h 9944"/>
                <a:gd name="connsiteX65" fmla="*/ 5252 w 10000"/>
                <a:gd name="connsiteY65" fmla="*/ 1720 h 9944"/>
                <a:gd name="connsiteX66" fmla="*/ 5342 w 10000"/>
                <a:gd name="connsiteY66" fmla="*/ 1458 h 9944"/>
                <a:gd name="connsiteX67" fmla="*/ 5486 w 10000"/>
                <a:gd name="connsiteY67" fmla="*/ 1532 h 9944"/>
                <a:gd name="connsiteX68" fmla="*/ 5576 w 10000"/>
                <a:gd name="connsiteY68" fmla="*/ 1720 h 9944"/>
                <a:gd name="connsiteX69" fmla="*/ 6097 w 10000"/>
                <a:gd name="connsiteY69" fmla="*/ 1794 h 9944"/>
                <a:gd name="connsiteX70" fmla="*/ 6673 w 10000"/>
                <a:gd name="connsiteY70" fmla="*/ 1196 h 9944"/>
                <a:gd name="connsiteX71" fmla="*/ 7068 w 10000"/>
                <a:gd name="connsiteY71" fmla="*/ 1272 h 9944"/>
                <a:gd name="connsiteX72" fmla="*/ 7590 w 10000"/>
                <a:gd name="connsiteY72" fmla="*/ 262 h 9944"/>
                <a:gd name="connsiteX73" fmla="*/ 7644 w 10000"/>
                <a:gd name="connsiteY73" fmla="*/ 37 h 9944"/>
                <a:gd name="connsiteX74" fmla="*/ 7698 w 10000"/>
                <a:gd name="connsiteY74" fmla="*/ 0 h 9944"/>
                <a:gd name="connsiteX75" fmla="*/ 8687 w 10000"/>
                <a:gd name="connsiteY75" fmla="*/ 112 h 9944"/>
                <a:gd name="connsiteX76" fmla="*/ 8687 w 10000"/>
                <a:gd name="connsiteY76" fmla="*/ 112 h 9944"/>
                <a:gd name="connsiteX77" fmla="*/ 8813 w 10000"/>
                <a:gd name="connsiteY77" fmla="*/ 486 h 9944"/>
                <a:gd name="connsiteX78" fmla="*/ 8885 w 10000"/>
                <a:gd name="connsiteY78" fmla="*/ 1233 h 9944"/>
                <a:gd name="connsiteX79" fmla="*/ 9245 w 10000"/>
                <a:gd name="connsiteY79" fmla="*/ 1196 h 9944"/>
                <a:gd name="connsiteX80" fmla="*/ 9406 w 10000"/>
                <a:gd name="connsiteY80" fmla="*/ 1570 h 9944"/>
                <a:gd name="connsiteX81" fmla="*/ 9371 w 10000"/>
                <a:gd name="connsiteY81" fmla="*/ 2019 h 9944"/>
                <a:gd name="connsiteX82" fmla="*/ 9245 w 10000"/>
                <a:gd name="connsiteY82" fmla="*/ 2168 h 9944"/>
                <a:gd name="connsiteX83" fmla="*/ 9604 w 10000"/>
                <a:gd name="connsiteY83" fmla="*/ 3290 h 9944"/>
                <a:gd name="connsiteX84" fmla="*/ 9586 w 10000"/>
                <a:gd name="connsiteY84" fmla="*/ 4000 h 9944"/>
                <a:gd name="connsiteX85" fmla="*/ 9820 w 10000"/>
                <a:gd name="connsiteY85" fmla="*/ 4299 h 9944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8687 w 10000"/>
                <a:gd name="connsiteY75" fmla="*/ 113 h 10000"/>
                <a:gd name="connsiteX76" fmla="*/ 8813 w 10000"/>
                <a:gd name="connsiteY76" fmla="*/ 489 h 10000"/>
                <a:gd name="connsiteX77" fmla="*/ 8885 w 10000"/>
                <a:gd name="connsiteY77" fmla="*/ 1240 h 10000"/>
                <a:gd name="connsiteX78" fmla="*/ 9245 w 10000"/>
                <a:gd name="connsiteY78" fmla="*/ 1203 h 10000"/>
                <a:gd name="connsiteX79" fmla="*/ 9406 w 10000"/>
                <a:gd name="connsiteY79" fmla="*/ 1579 h 10000"/>
                <a:gd name="connsiteX80" fmla="*/ 9371 w 10000"/>
                <a:gd name="connsiteY80" fmla="*/ 2030 h 10000"/>
                <a:gd name="connsiteX81" fmla="*/ 9245 w 10000"/>
                <a:gd name="connsiteY81" fmla="*/ 2180 h 10000"/>
                <a:gd name="connsiteX82" fmla="*/ 9604 w 10000"/>
                <a:gd name="connsiteY82" fmla="*/ 3309 h 10000"/>
                <a:gd name="connsiteX83" fmla="*/ 9586 w 10000"/>
                <a:gd name="connsiteY83" fmla="*/ 4023 h 10000"/>
                <a:gd name="connsiteX84" fmla="*/ 9820 w 10000"/>
                <a:gd name="connsiteY84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8687 w 10000"/>
                <a:gd name="connsiteY75" fmla="*/ 113 h 10000"/>
                <a:gd name="connsiteX76" fmla="*/ 8885 w 10000"/>
                <a:gd name="connsiteY76" fmla="*/ 1240 h 10000"/>
                <a:gd name="connsiteX77" fmla="*/ 9245 w 10000"/>
                <a:gd name="connsiteY77" fmla="*/ 1203 h 10000"/>
                <a:gd name="connsiteX78" fmla="*/ 9406 w 10000"/>
                <a:gd name="connsiteY78" fmla="*/ 1579 h 10000"/>
                <a:gd name="connsiteX79" fmla="*/ 9371 w 10000"/>
                <a:gd name="connsiteY79" fmla="*/ 2030 h 10000"/>
                <a:gd name="connsiteX80" fmla="*/ 9245 w 10000"/>
                <a:gd name="connsiteY80" fmla="*/ 2180 h 10000"/>
                <a:gd name="connsiteX81" fmla="*/ 9604 w 10000"/>
                <a:gd name="connsiteY81" fmla="*/ 3309 h 10000"/>
                <a:gd name="connsiteX82" fmla="*/ 9586 w 10000"/>
                <a:gd name="connsiteY82" fmla="*/ 4023 h 10000"/>
                <a:gd name="connsiteX83" fmla="*/ 9820 w 10000"/>
                <a:gd name="connsiteY83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8885 w 10000"/>
                <a:gd name="connsiteY75" fmla="*/ 1240 h 10000"/>
                <a:gd name="connsiteX76" fmla="*/ 9245 w 10000"/>
                <a:gd name="connsiteY76" fmla="*/ 1203 h 10000"/>
                <a:gd name="connsiteX77" fmla="*/ 9406 w 10000"/>
                <a:gd name="connsiteY77" fmla="*/ 1579 h 10000"/>
                <a:gd name="connsiteX78" fmla="*/ 9371 w 10000"/>
                <a:gd name="connsiteY78" fmla="*/ 2030 h 10000"/>
                <a:gd name="connsiteX79" fmla="*/ 9245 w 10000"/>
                <a:gd name="connsiteY79" fmla="*/ 2180 h 10000"/>
                <a:gd name="connsiteX80" fmla="*/ 9604 w 10000"/>
                <a:gd name="connsiteY80" fmla="*/ 3309 h 10000"/>
                <a:gd name="connsiteX81" fmla="*/ 9586 w 10000"/>
                <a:gd name="connsiteY81" fmla="*/ 4023 h 10000"/>
                <a:gd name="connsiteX82" fmla="*/ 9820 w 10000"/>
                <a:gd name="connsiteY82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9245 w 10000"/>
                <a:gd name="connsiteY75" fmla="*/ 1203 h 10000"/>
                <a:gd name="connsiteX76" fmla="*/ 9406 w 10000"/>
                <a:gd name="connsiteY76" fmla="*/ 1579 h 10000"/>
                <a:gd name="connsiteX77" fmla="*/ 9371 w 10000"/>
                <a:gd name="connsiteY77" fmla="*/ 2030 h 10000"/>
                <a:gd name="connsiteX78" fmla="*/ 9245 w 10000"/>
                <a:gd name="connsiteY78" fmla="*/ 2180 h 10000"/>
                <a:gd name="connsiteX79" fmla="*/ 9604 w 10000"/>
                <a:gd name="connsiteY79" fmla="*/ 3309 h 10000"/>
                <a:gd name="connsiteX80" fmla="*/ 9586 w 10000"/>
                <a:gd name="connsiteY80" fmla="*/ 4023 h 10000"/>
                <a:gd name="connsiteX81" fmla="*/ 9820 w 10000"/>
                <a:gd name="connsiteY81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9406 w 10000"/>
                <a:gd name="connsiteY75" fmla="*/ 1579 h 10000"/>
                <a:gd name="connsiteX76" fmla="*/ 9371 w 10000"/>
                <a:gd name="connsiteY76" fmla="*/ 2030 h 10000"/>
                <a:gd name="connsiteX77" fmla="*/ 9245 w 10000"/>
                <a:gd name="connsiteY77" fmla="*/ 2180 h 10000"/>
                <a:gd name="connsiteX78" fmla="*/ 9604 w 10000"/>
                <a:gd name="connsiteY78" fmla="*/ 3309 h 10000"/>
                <a:gd name="connsiteX79" fmla="*/ 9586 w 10000"/>
                <a:gd name="connsiteY79" fmla="*/ 4023 h 10000"/>
                <a:gd name="connsiteX80" fmla="*/ 9820 w 10000"/>
                <a:gd name="connsiteY80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9371 w 10000"/>
                <a:gd name="connsiteY75" fmla="*/ 2030 h 10000"/>
                <a:gd name="connsiteX76" fmla="*/ 9245 w 10000"/>
                <a:gd name="connsiteY76" fmla="*/ 2180 h 10000"/>
                <a:gd name="connsiteX77" fmla="*/ 9604 w 10000"/>
                <a:gd name="connsiteY77" fmla="*/ 3309 h 10000"/>
                <a:gd name="connsiteX78" fmla="*/ 9586 w 10000"/>
                <a:gd name="connsiteY78" fmla="*/ 4023 h 10000"/>
                <a:gd name="connsiteX79" fmla="*/ 9820 w 10000"/>
                <a:gd name="connsiteY79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9245 w 10000"/>
                <a:gd name="connsiteY75" fmla="*/ 2180 h 10000"/>
                <a:gd name="connsiteX76" fmla="*/ 9604 w 10000"/>
                <a:gd name="connsiteY76" fmla="*/ 3309 h 10000"/>
                <a:gd name="connsiteX77" fmla="*/ 9586 w 10000"/>
                <a:gd name="connsiteY77" fmla="*/ 4023 h 10000"/>
                <a:gd name="connsiteX78" fmla="*/ 9820 w 10000"/>
                <a:gd name="connsiteY78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9604 w 10000"/>
                <a:gd name="connsiteY75" fmla="*/ 3309 h 10000"/>
                <a:gd name="connsiteX76" fmla="*/ 9586 w 10000"/>
                <a:gd name="connsiteY76" fmla="*/ 4023 h 10000"/>
                <a:gd name="connsiteX77" fmla="*/ 9820 w 10000"/>
                <a:gd name="connsiteY77" fmla="*/ 4323 h 10000"/>
                <a:gd name="connsiteX0" fmla="*/ 9820 w 10000"/>
                <a:gd name="connsiteY0" fmla="*/ 4323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75" fmla="*/ 9586 w 10000"/>
                <a:gd name="connsiteY75" fmla="*/ 4023 h 10000"/>
                <a:gd name="connsiteX76" fmla="*/ 9820 w 10000"/>
                <a:gd name="connsiteY76" fmla="*/ 4323 h 10000"/>
                <a:gd name="connsiteX0" fmla="*/ 9820 w 10204"/>
                <a:gd name="connsiteY0" fmla="*/ 4323 h 10000"/>
                <a:gd name="connsiteX1" fmla="*/ 10000 w 10204"/>
                <a:gd name="connsiteY1" fmla="*/ 4887 h 10000"/>
                <a:gd name="connsiteX2" fmla="*/ 9766 w 10204"/>
                <a:gd name="connsiteY2" fmla="*/ 5262 h 10000"/>
                <a:gd name="connsiteX3" fmla="*/ 9227 w 10204"/>
                <a:gd name="connsiteY3" fmla="*/ 5151 h 10000"/>
                <a:gd name="connsiteX4" fmla="*/ 8903 w 10204"/>
                <a:gd name="connsiteY4" fmla="*/ 5564 h 10000"/>
                <a:gd name="connsiteX5" fmla="*/ 8687 w 10204"/>
                <a:gd name="connsiteY5" fmla="*/ 5639 h 10000"/>
                <a:gd name="connsiteX6" fmla="*/ 8237 w 10204"/>
                <a:gd name="connsiteY6" fmla="*/ 6128 h 10000"/>
                <a:gd name="connsiteX7" fmla="*/ 7788 w 10204"/>
                <a:gd name="connsiteY7" fmla="*/ 6654 h 10000"/>
                <a:gd name="connsiteX8" fmla="*/ 7230 w 10204"/>
                <a:gd name="connsiteY8" fmla="*/ 7294 h 10000"/>
                <a:gd name="connsiteX9" fmla="*/ 6727 w 10204"/>
                <a:gd name="connsiteY9" fmla="*/ 7218 h 10000"/>
                <a:gd name="connsiteX10" fmla="*/ 6313 w 10204"/>
                <a:gd name="connsiteY10" fmla="*/ 7782 h 10000"/>
                <a:gd name="connsiteX11" fmla="*/ 5935 w 10204"/>
                <a:gd name="connsiteY11" fmla="*/ 7744 h 10000"/>
                <a:gd name="connsiteX12" fmla="*/ 5881 w 10204"/>
                <a:gd name="connsiteY12" fmla="*/ 8120 h 10000"/>
                <a:gd name="connsiteX13" fmla="*/ 5971 w 10204"/>
                <a:gd name="connsiteY13" fmla="*/ 8571 h 10000"/>
                <a:gd name="connsiteX14" fmla="*/ 5809 w 10204"/>
                <a:gd name="connsiteY14" fmla="*/ 9023 h 10000"/>
                <a:gd name="connsiteX15" fmla="*/ 5737 w 10204"/>
                <a:gd name="connsiteY15" fmla="*/ 9248 h 10000"/>
                <a:gd name="connsiteX16" fmla="*/ 5558 w 10204"/>
                <a:gd name="connsiteY16" fmla="*/ 9286 h 10000"/>
                <a:gd name="connsiteX17" fmla="*/ 5576 w 10204"/>
                <a:gd name="connsiteY17" fmla="*/ 8947 h 10000"/>
                <a:gd name="connsiteX18" fmla="*/ 5486 w 10204"/>
                <a:gd name="connsiteY18" fmla="*/ 8609 h 10000"/>
                <a:gd name="connsiteX19" fmla="*/ 5629 w 10204"/>
                <a:gd name="connsiteY19" fmla="*/ 8120 h 10000"/>
                <a:gd name="connsiteX20" fmla="*/ 5576 w 10204"/>
                <a:gd name="connsiteY20" fmla="*/ 7707 h 10000"/>
                <a:gd name="connsiteX21" fmla="*/ 5288 w 10204"/>
                <a:gd name="connsiteY21" fmla="*/ 8270 h 10000"/>
                <a:gd name="connsiteX22" fmla="*/ 4838 w 10204"/>
                <a:gd name="connsiteY22" fmla="*/ 8158 h 10000"/>
                <a:gd name="connsiteX23" fmla="*/ 4514 w 10204"/>
                <a:gd name="connsiteY23" fmla="*/ 8873 h 10000"/>
                <a:gd name="connsiteX24" fmla="*/ 4335 w 10204"/>
                <a:gd name="connsiteY24" fmla="*/ 9211 h 10000"/>
                <a:gd name="connsiteX25" fmla="*/ 3867 w 10204"/>
                <a:gd name="connsiteY25" fmla="*/ 9587 h 10000"/>
                <a:gd name="connsiteX26" fmla="*/ 3471 w 10204"/>
                <a:gd name="connsiteY26" fmla="*/ 8984 h 10000"/>
                <a:gd name="connsiteX27" fmla="*/ 2734 w 10204"/>
                <a:gd name="connsiteY27" fmla="*/ 8760 h 10000"/>
                <a:gd name="connsiteX28" fmla="*/ 2644 w 10204"/>
                <a:gd name="connsiteY28" fmla="*/ 9737 h 10000"/>
                <a:gd name="connsiteX29" fmla="*/ 2320 w 10204"/>
                <a:gd name="connsiteY29" fmla="*/ 9887 h 10000"/>
                <a:gd name="connsiteX30" fmla="*/ 1906 w 10204"/>
                <a:gd name="connsiteY30" fmla="*/ 9587 h 10000"/>
                <a:gd name="connsiteX31" fmla="*/ 1745 w 10204"/>
                <a:gd name="connsiteY31" fmla="*/ 9286 h 10000"/>
                <a:gd name="connsiteX32" fmla="*/ 1493 w 10204"/>
                <a:gd name="connsiteY32" fmla="*/ 9286 h 10000"/>
                <a:gd name="connsiteX33" fmla="*/ 1295 w 10204"/>
                <a:gd name="connsiteY33" fmla="*/ 9549 h 10000"/>
                <a:gd name="connsiteX34" fmla="*/ 1187 w 10204"/>
                <a:gd name="connsiteY34" fmla="*/ 9023 h 10000"/>
                <a:gd name="connsiteX35" fmla="*/ 863 w 10204"/>
                <a:gd name="connsiteY35" fmla="*/ 9023 h 10000"/>
                <a:gd name="connsiteX36" fmla="*/ 773 w 10204"/>
                <a:gd name="connsiteY36" fmla="*/ 7820 h 10000"/>
                <a:gd name="connsiteX37" fmla="*/ 270 w 10204"/>
                <a:gd name="connsiteY37" fmla="*/ 7444 h 10000"/>
                <a:gd name="connsiteX38" fmla="*/ 90 w 10204"/>
                <a:gd name="connsiteY38" fmla="*/ 7632 h 10000"/>
                <a:gd name="connsiteX39" fmla="*/ 72 w 10204"/>
                <a:gd name="connsiteY39" fmla="*/ 6992 h 10000"/>
                <a:gd name="connsiteX40" fmla="*/ 468 w 10204"/>
                <a:gd name="connsiteY40" fmla="*/ 6842 h 10000"/>
                <a:gd name="connsiteX41" fmla="*/ 540 w 10204"/>
                <a:gd name="connsiteY41" fmla="*/ 6278 h 10000"/>
                <a:gd name="connsiteX42" fmla="*/ 522 w 10204"/>
                <a:gd name="connsiteY42" fmla="*/ 5752 h 10000"/>
                <a:gd name="connsiteX43" fmla="*/ 126 w 10204"/>
                <a:gd name="connsiteY43" fmla="*/ 5828 h 10000"/>
                <a:gd name="connsiteX44" fmla="*/ 216 w 10204"/>
                <a:gd name="connsiteY44" fmla="*/ 5000 h 10000"/>
                <a:gd name="connsiteX45" fmla="*/ 450 w 10204"/>
                <a:gd name="connsiteY45" fmla="*/ 4548 h 10000"/>
                <a:gd name="connsiteX46" fmla="*/ 719 w 10204"/>
                <a:gd name="connsiteY46" fmla="*/ 4399 h 10000"/>
                <a:gd name="connsiteX47" fmla="*/ 1079 w 10204"/>
                <a:gd name="connsiteY47" fmla="*/ 4249 h 10000"/>
                <a:gd name="connsiteX48" fmla="*/ 1565 w 10204"/>
                <a:gd name="connsiteY48" fmla="*/ 4249 h 10000"/>
                <a:gd name="connsiteX49" fmla="*/ 1547 w 10204"/>
                <a:gd name="connsiteY49" fmla="*/ 3910 h 10000"/>
                <a:gd name="connsiteX50" fmla="*/ 1942 w 10204"/>
                <a:gd name="connsiteY50" fmla="*/ 3685 h 10000"/>
                <a:gd name="connsiteX51" fmla="*/ 1601 w 10204"/>
                <a:gd name="connsiteY51" fmla="*/ 3309 h 10000"/>
                <a:gd name="connsiteX52" fmla="*/ 1709 w 10204"/>
                <a:gd name="connsiteY52" fmla="*/ 3082 h 10000"/>
                <a:gd name="connsiteX53" fmla="*/ 2626 w 10204"/>
                <a:gd name="connsiteY53" fmla="*/ 2932 h 10000"/>
                <a:gd name="connsiteX54" fmla="*/ 2752 w 10204"/>
                <a:gd name="connsiteY54" fmla="*/ 2556 h 10000"/>
                <a:gd name="connsiteX55" fmla="*/ 3291 w 10204"/>
                <a:gd name="connsiteY55" fmla="*/ 1616 h 10000"/>
                <a:gd name="connsiteX56" fmla="*/ 3795 w 10204"/>
                <a:gd name="connsiteY56" fmla="*/ 1279 h 10000"/>
                <a:gd name="connsiteX57" fmla="*/ 4209 w 10204"/>
                <a:gd name="connsiteY57" fmla="*/ 1127 h 10000"/>
                <a:gd name="connsiteX58" fmla="*/ 4353 w 10204"/>
                <a:gd name="connsiteY58" fmla="*/ 827 h 10000"/>
                <a:gd name="connsiteX59" fmla="*/ 4514 w 10204"/>
                <a:gd name="connsiteY59" fmla="*/ 903 h 10000"/>
                <a:gd name="connsiteX60" fmla="*/ 4514 w 10204"/>
                <a:gd name="connsiteY60" fmla="*/ 1240 h 10000"/>
                <a:gd name="connsiteX61" fmla="*/ 4730 w 10204"/>
                <a:gd name="connsiteY61" fmla="*/ 1391 h 10000"/>
                <a:gd name="connsiteX62" fmla="*/ 4910 w 10204"/>
                <a:gd name="connsiteY62" fmla="*/ 1127 h 10000"/>
                <a:gd name="connsiteX63" fmla="*/ 5036 w 10204"/>
                <a:gd name="connsiteY63" fmla="*/ 1316 h 10000"/>
                <a:gd name="connsiteX64" fmla="*/ 5108 w 10204"/>
                <a:gd name="connsiteY64" fmla="*/ 1616 h 10000"/>
                <a:gd name="connsiteX65" fmla="*/ 5252 w 10204"/>
                <a:gd name="connsiteY65" fmla="*/ 1730 h 10000"/>
                <a:gd name="connsiteX66" fmla="*/ 5342 w 10204"/>
                <a:gd name="connsiteY66" fmla="*/ 1466 h 10000"/>
                <a:gd name="connsiteX67" fmla="*/ 5486 w 10204"/>
                <a:gd name="connsiteY67" fmla="*/ 1541 h 10000"/>
                <a:gd name="connsiteX68" fmla="*/ 5576 w 10204"/>
                <a:gd name="connsiteY68" fmla="*/ 1730 h 10000"/>
                <a:gd name="connsiteX69" fmla="*/ 6097 w 10204"/>
                <a:gd name="connsiteY69" fmla="*/ 1804 h 10000"/>
                <a:gd name="connsiteX70" fmla="*/ 6673 w 10204"/>
                <a:gd name="connsiteY70" fmla="*/ 1203 h 10000"/>
                <a:gd name="connsiteX71" fmla="*/ 7068 w 10204"/>
                <a:gd name="connsiteY71" fmla="*/ 1279 h 10000"/>
                <a:gd name="connsiteX72" fmla="*/ 7590 w 10204"/>
                <a:gd name="connsiteY72" fmla="*/ 263 h 10000"/>
                <a:gd name="connsiteX73" fmla="*/ 7644 w 10204"/>
                <a:gd name="connsiteY73" fmla="*/ 37 h 10000"/>
                <a:gd name="connsiteX74" fmla="*/ 7698 w 10204"/>
                <a:gd name="connsiteY74" fmla="*/ 0 h 10000"/>
                <a:gd name="connsiteX75" fmla="*/ 9820 w 10204"/>
                <a:gd name="connsiteY75" fmla="*/ 4323 h 10000"/>
                <a:gd name="connsiteX0" fmla="*/ 7698 w 10000"/>
                <a:gd name="connsiteY0" fmla="*/ 0 h 10000"/>
                <a:gd name="connsiteX1" fmla="*/ 10000 w 10000"/>
                <a:gd name="connsiteY1" fmla="*/ 4887 h 10000"/>
                <a:gd name="connsiteX2" fmla="*/ 9766 w 10000"/>
                <a:gd name="connsiteY2" fmla="*/ 5262 h 10000"/>
                <a:gd name="connsiteX3" fmla="*/ 9227 w 10000"/>
                <a:gd name="connsiteY3" fmla="*/ 5151 h 10000"/>
                <a:gd name="connsiteX4" fmla="*/ 8903 w 10000"/>
                <a:gd name="connsiteY4" fmla="*/ 5564 h 10000"/>
                <a:gd name="connsiteX5" fmla="*/ 8687 w 10000"/>
                <a:gd name="connsiteY5" fmla="*/ 5639 h 10000"/>
                <a:gd name="connsiteX6" fmla="*/ 8237 w 10000"/>
                <a:gd name="connsiteY6" fmla="*/ 6128 h 10000"/>
                <a:gd name="connsiteX7" fmla="*/ 7788 w 10000"/>
                <a:gd name="connsiteY7" fmla="*/ 6654 h 10000"/>
                <a:gd name="connsiteX8" fmla="*/ 7230 w 10000"/>
                <a:gd name="connsiteY8" fmla="*/ 7294 h 10000"/>
                <a:gd name="connsiteX9" fmla="*/ 6727 w 10000"/>
                <a:gd name="connsiteY9" fmla="*/ 7218 h 10000"/>
                <a:gd name="connsiteX10" fmla="*/ 6313 w 10000"/>
                <a:gd name="connsiteY10" fmla="*/ 7782 h 10000"/>
                <a:gd name="connsiteX11" fmla="*/ 5935 w 10000"/>
                <a:gd name="connsiteY11" fmla="*/ 7744 h 10000"/>
                <a:gd name="connsiteX12" fmla="*/ 5881 w 10000"/>
                <a:gd name="connsiteY12" fmla="*/ 8120 h 10000"/>
                <a:gd name="connsiteX13" fmla="*/ 5971 w 10000"/>
                <a:gd name="connsiteY13" fmla="*/ 8571 h 10000"/>
                <a:gd name="connsiteX14" fmla="*/ 5809 w 10000"/>
                <a:gd name="connsiteY14" fmla="*/ 9023 h 10000"/>
                <a:gd name="connsiteX15" fmla="*/ 5737 w 10000"/>
                <a:gd name="connsiteY15" fmla="*/ 9248 h 10000"/>
                <a:gd name="connsiteX16" fmla="*/ 5558 w 10000"/>
                <a:gd name="connsiteY16" fmla="*/ 9286 h 10000"/>
                <a:gd name="connsiteX17" fmla="*/ 5576 w 10000"/>
                <a:gd name="connsiteY17" fmla="*/ 8947 h 10000"/>
                <a:gd name="connsiteX18" fmla="*/ 5486 w 10000"/>
                <a:gd name="connsiteY18" fmla="*/ 8609 h 10000"/>
                <a:gd name="connsiteX19" fmla="*/ 5629 w 10000"/>
                <a:gd name="connsiteY19" fmla="*/ 8120 h 10000"/>
                <a:gd name="connsiteX20" fmla="*/ 5576 w 10000"/>
                <a:gd name="connsiteY20" fmla="*/ 7707 h 10000"/>
                <a:gd name="connsiteX21" fmla="*/ 5288 w 10000"/>
                <a:gd name="connsiteY21" fmla="*/ 8270 h 10000"/>
                <a:gd name="connsiteX22" fmla="*/ 4838 w 10000"/>
                <a:gd name="connsiteY22" fmla="*/ 8158 h 10000"/>
                <a:gd name="connsiteX23" fmla="*/ 4514 w 10000"/>
                <a:gd name="connsiteY23" fmla="*/ 8873 h 10000"/>
                <a:gd name="connsiteX24" fmla="*/ 4335 w 10000"/>
                <a:gd name="connsiteY24" fmla="*/ 9211 h 10000"/>
                <a:gd name="connsiteX25" fmla="*/ 3867 w 10000"/>
                <a:gd name="connsiteY25" fmla="*/ 9587 h 10000"/>
                <a:gd name="connsiteX26" fmla="*/ 3471 w 10000"/>
                <a:gd name="connsiteY26" fmla="*/ 8984 h 10000"/>
                <a:gd name="connsiteX27" fmla="*/ 2734 w 10000"/>
                <a:gd name="connsiteY27" fmla="*/ 8760 h 10000"/>
                <a:gd name="connsiteX28" fmla="*/ 2644 w 10000"/>
                <a:gd name="connsiteY28" fmla="*/ 9737 h 10000"/>
                <a:gd name="connsiteX29" fmla="*/ 2320 w 10000"/>
                <a:gd name="connsiteY29" fmla="*/ 9887 h 10000"/>
                <a:gd name="connsiteX30" fmla="*/ 1906 w 10000"/>
                <a:gd name="connsiteY30" fmla="*/ 9587 h 10000"/>
                <a:gd name="connsiteX31" fmla="*/ 1745 w 10000"/>
                <a:gd name="connsiteY31" fmla="*/ 9286 h 10000"/>
                <a:gd name="connsiteX32" fmla="*/ 1493 w 10000"/>
                <a:gd name="connsiteY32" fmla="*/ 9286 h 10000"/>
                <a:gd name="connsiteX33" fmla="*/ 1295 w 10000"/>
                <a:gd name="connsiteY33" fmla="*/ 9549 h 10000"/>
                <a:gd name="connsiteX34" fmla="*/ 1187 w 10000"/>
                <a:gd name="connsiteY34" fmla="*/ 9023 h 10000"/>
                <a:gd name="connsiteX35" fmla="*/ 863 w 10000"/>
                <a:gd name="connsiteY35" fmla="*/ 9023 h 10000"/>
                <a:gd name="connsiteX36" fmla="*/ 773 w 10000"/>
                <a:gd name="connsiteY36" fmla="*/ 7820 h 10000"/>
                <a:gd name="connsiteX37" fmla="*/ 270 w 10000"/>
                <a:gd name="connsiteY37" fmla="*/ 7444 h 10000"/>
                <a:gd name="connsiteX38" fmla="*/ 90 w 10000"/>
                <a:gd name="connsiteY38" fmla="*/ 7632 h 10000"/>
                <a:gd name="connsiteX39" fmla="*/ 72 w 10000"/>
                <a:gd name="connsiteY39" fmla="*/ 6992 h 10000"/>
                <a:gd name="connsiteX40" fmla="*/ 468 w 10000"/>
                <a:gd name="connsiteY40" fmla="*/ 6842 h 10000"/>
                <a:gd name="connsiteX41" fmla="*/ 540 w 10000"/>
                <a:gd name="connsiteY41" fmla="*/ 6278 h 10000"/>
                <a:gd name="connsiteX42" fmla="*/ 522 w 10000"/>
                <a:gd name="connsiteY42" fmla="*/ 5752 h 10000"/>
                <a:gd name="connsiteX43" fmla="*/ 126 w 10000"/>
                <a:gd name="connsiteY43" fmla="*/ 5828 h 10000"/>
                <a:gd name="connsiteX44" fmla="*/ 216 w 10000"/>
                <a:gd name="connsiteY44" fmla="*/ 5000 h 10000"/>
                <a:gd name="connsiteX45" fmla="*/ 450 w 10000"/>
                <a:gd name="connsiteY45" fmla="*/ 4548 h 10000"/>
                <a:gd name="connsiteX46" fmla="*/ 719 w 10000"/>
                <a:gd name="connsiteY46" fmla="*/ 4399 h 10000"/>
                <a:gd name="connsiteX47" fmla="*/ 1079 w 10000"/>
                <a:gd name="connsiteY47" fmla="*/ 4249 h 10000"/>
                <a:gd name="connsiteX48" fmla="*/ 1565 w 10000"/>
                <a:gd name="connsiteY48" fmla="*/ 4249 h 10000"/>
                <a:gd name="connsiteX49" fmla="*/ 1547 w 10000"/>
                <a:gd name="connsiteY49" fmla="*/ 3910 h 10000"/>
                <a:gd name="connsiteX50" fmla="*/ 1942 w 10000"/>
                <a:gd name="connsiteY50" fmla="*/ 3685 h 10000"/>
                <a:gd name="connsiteX51" fmla="*/ 1601 w 10000"/>
                <a:gd name="connsiteY51" fmla="*/ 3309 h 10000"/>
                <a:gd name="connsiteX52" fmla="*/ 1709 w 10000"/>
                <a:gd name="connsiteY52" fmla="*/ 3082 h 10000"/>
                <a:gd name="connsiteX53" fmla="*/ 2626 w 10000"/>
                <a:gd name="connsiteY53" fmla="*/ 2932 h 10000"/>
                <a:gd name="connsiteX54" fmla="*/ 2752 w 10000"/>
                <a:gd name="connsiteY54" fmla="*/ 2556 h 10000"/>
                <a:gd name="connsiteX55" fmla="*/ 3291 w 10000"/>
                <a:gd name="connsiteY55" fmla="*/ 1616 h 10000"/>
                <a:gd name="connsiteX56" fmla="*/ 3795 w 10000"/>
                <a:gd name="connsiteY56" fmla="*/ 1279 h 10000"/>
                <a:gd name="connsiteX57" fmla="*/ 4209 w 10000"/>
                <a:gd name="connsiteY57" fmla="*/ 1127 h 10000"/>
                <a:gd name="connsiteX58" fmla="*/ 4353 w 10000"/>
                <a:gd name="connsiteY58" fmla="*/ 827 h 10000"/>
                <a:gd name="connsiteX59" fmla="*/ 4514 w 10000"/>
                <a:gd name="connsiteY59" fmla="*/ 903 h 10000"/>
                <a:gd name="connsiteX60" fmla="*/ 4514 w 10000"/>
                <a:gd name="connsiteY60" fmla="*/ 1240 h 10000"/>
                <a:gd name="connsiteX61" fmla="*/ 4730 w 10000"/>
                <a:gd name="connsiteY61" fmla="*/ 1391 h 10000"/>
                <a:gd name="connsiteX62" fmla="*/ 4910 w 10000"/>
                <a:gd name="connsiteY62" fmla="*/ 1127 h 10000"/>
                <a:gd name="connsiteX63" fmla="*/ 5036 w 10000"/>
                <a:gd name="connsiteY63" fmla="*/ 1316 h 10000"/>
                <a:gd name="connsiteX64" fmla="*/ 5108 w 10000"/>
                <a:gd name="connsiteY64" fmla="*/ 1616 h 10000"/>
                <a:gd name="connsiteX65" fmla="*/ 5252 w 10000"/>
                <a:gd name="connsiteY65" fmla="*/ 1730 h 10000"/>
                <a:gd name="connsiteX66" fmla="*/ 5342 w 10000"/>
                <a:gd name="connsiteY66" fmla="*/ 1466 h 10000"/>
                <a:gd name="connsiteX67" fmla="*/ 5486 w 10000"/>
                <a:gd name="connsiteY67" fmla="*/ 1541 h 10000"/>
                <a:gd name="connsiteX68" fmla="*/ 5576 w 10000"/>
                <a:gd name="connsiteY68" fmla="*/ 1730 h 10000"/>
                <a:gd name="connsiteX69" fmla="*/ 6097 w 10000"/>
                <a:gd name="connsiteY69" fmla="*/ 1804 h 10000"/>
                <a:gd name="connsiteX70" fmla="*/ 6673 w 10000"/>
                <a:gd name="connsiteY70" fmla="*/ 1203 h 10000"/>
                <a:gd name="connsiteX71" fmla="*/ 7068 w 10000"/>
                <a:gd name="connsiteY71" fmla="*/ 1279 h 10000"/>
                <a:gd name="connsiteX72" fmla="*/ 7590 w 10000"/>
                <a:gd name="connsiteY72" fmla="*/ 263 h 10000"/>
                <a:gd name="connsiteX73" fmla="*/ 7644 w 10000"/>
                <a:gd name="connsiteY73" fmla="*/ 37 h 10000"/>
                <a:gd name="connsiteX74" fmla="*/ 7698 w 10000"/>
                <a:gd name="connsiteY74" fmla="*/ 0 h 10000"/>
                <a:gd name="connsiteX0" fmla="*/ 7698 w 10021"/>
                <a:gd name="connsiteY0" fmla="*/ 0 h 10000"/>
                <a:gd name="connsiteX1" fmla="*/ 9766 w 10021"/>
                <a:gd name="connsiteY1" fmla="*/ 5262 h 10000"/>
                <a:gd name="connsiteX2" fmla="*/ 9227 w 10021"/>
                <a:gd name="connsiteY2" fmla="*/ 5151 h 10000"/>
                <a:gd name="connsiteX3" fmla="*/ 8903 w 10021"/>
                <a:gd name="connsiteY3" fmla="*/ 5564 h 10000"/>
                <a:gd name="connsiteX4" fmla="*/ 8687 w 10021"/>
                <a:gd name="connsiteY4" fmla="*/ 5639 h 10000"/>
                <a:gd name="connsiteX5" fmla="*/ 8237 w 10021"/>
                <a:gd name="connsiteY5" fmla="*/ 6128 h 10000"/>
                <a:gd name="connsiteX6" fmla="*/ 7788 w 10021"/>
                <a:gd name="connsiteY6" fmla="*/ 6654 h 10000"/>
                <a:gd name="connsiteX7" fmla="*/ 7230 w 10021"/>
                <a:gd name="connsiteY7" fmla="*/ 7294 h 10000"/>
                <a:gd name="connsiteX8" fmla="*/ 6727 w 10021"/>
                <a:gd name="connsiteY8" fmla="*/ 7218 h 10000"/>
                <a:gd name="connsiteX9" fmla="*/ 6313 w 10021"/>
                <a:gd name="connsiteY9" fmla="*/ 7782 h 10000"/>
                <a:gd name="connsiteX10" fmla="*/ 5935 w 10021"/>
                <a:gd name="connsiteY10" fmla="*/ 7744 h 10000"/>
                <a:gd name="connsiteX11" fmla="*/ 5881 w 10021"/>
                <a:gd name="connsiteY11" fmla="*/ 8120 h 10000"/>
                <a:gd name="connsiteX12" fmla="*/ 5971 w 10021"/>
                <a:gd name="connsiteY12" fmla="*/ 8571 h 10000"/>
                <a:gd name="connsiteX13" fmla="*/ 5809 w 10021"/>
                <a:gd name="connsiteY13" fmla="*/ 9023 h 10000"/>
                <a:gd name="connsiteX14" fmla="*/ 5737 w 10021"/>
                <a:gd name="connsiteY14" fmla="*/ 9248 h 10000"/>
                <a:gd name="connsiteX15" fmla="*/ 5558 w 10021"/>
                <a:gd name="connsiteY15" fmla="*/ 9286 h 10000"/>
                <a:gd name="connsiteX16" fmla="*/ 5576 w 10021"/>
                <a:gd name="connsiteY16" fmla="*/ 8947 h 10000"/>
                <a:gd name="connsiteX17" fmla="*/ 5486 w 10021"/>
                <a:gd name="connsiteY17" fmla="*/ 8609 h 10000"/>
                <a:gd name="connsiteX18" fmla="*/ 5629 w 10021"/>
                <a:gd name="connsiteY18" fmla="*/ 8120 h 10000"/>
                <a:gd name="connsiteX19" fmla="*/ 5576 w 10021"/>
                <a:gd name="connsiteY19" fmla="*/ 7707 h 10000"/>
                <a:gd name="connsiteX20" fmla="*/ 5288 w 10021"/>
                <a:gd name="connsiteY20" fmla="*/ 8270 h 10000"/>
                <a:gd name="connsiteX21" fmla="*/ 4838 w 10021"/>
                <a:gd name="connsiteY21" fmla="*/ 8158 h 10000"/>
                <a:gd name="connsiteX22" fmla="*/ 4514 w 10021"/>
                <a:gd name="connsiteY22" fmla="*/ 8873 h 10000"/>
                <a:gd name="connsiteX23" fmla="*/ 4335 w 10021"/>
                <a:gd name="connsiteY23" fmla="*/ 9211 h 10000"/>
                <a:gd name="connsiteX24" fmla="*/ 3867 w 10021"/>
                <a:gd name="connsiteY24" fmla="*/ 9587 h 10000"/>
                <a:gd name="connsiteX25" fmla="*/ 3471 w 10021"/>
                <a:gd name="connsiteY25" fmla="*/ 8984 h 10000"/>
                <a:gd name="connsiteX26" fmla="*/ 2734 w 10021"/>
                <a:gd name="connsiteY26" fmla="*/ 8760 h 10000"/>
                <a:gd name="connsiteX27" fmla="*/ 2644 w 10021"/>
                <a:gd name="connsiteY27" fmla="*/ 9737 h 10000"/>
                <a:gd name="connsiteX28" fmla="*/ 2320 w 10021"/>
                <a:gd name="connsiteY28" fmla="*/ 9887 h 10000"/>
                <a:gd name="connsiteX29" fmla="*/ 1906 w 10021"/>
                <a:gd name="connsiteY29" fmla="*/ 9587 h 10000"/>
                <a:gd name="connsiteX30" fmla="*/ 1745 w 10021"/>
                <a:gd name="connsiteY30" fmla="*/ 9286 h 10000"/>
                <a:gd name="connsiteX31" fmla="*/ 1493 w 10021"/>
                <a:gd name="connsiteY31" fmla="*/ 9286 h 10000"/>
                <a:gd name="connsiteX32" fmla="*/ 1295 w 10021"/>
                <a:gd name="connsiteY32" fmla="*/ 9549 h 10000"/>
                <a:gd name="connsiteX33" fmla="*/ 1187 w 10021"/>
                <a:gd name="connsiteY33" fmla="*/ 9023 h 10000"/>
                <a:gd name="connsiteX34" fmla="*/ 863 w 10021"/>
                <a:gd name="connsiteY34" fmla="*/ 9023 h 10000"/>
                <a:gd name="connsiteX35" fmla="*/ 773 w 10021"/>
                <a:gd name="connsiteY35" fmla="*/ 7820 h 10000"/>
                <a:gd name="connsiteX36" fmla="*/ 270 w 10021"/>
                <a:gd name="connsiteY36" fmla="*/ 7444 h 10000"/>
                <a:gd name="connsiteX37" fmla="*/ 90 w 10021"/>
                <a:gd name="connsiteY37" fmla="*/ 7632 h 10000"/>
                <a:gd name="connsiteX38" fmla="*/ 72 w 10021"/>
                <a:gd name="connsiteY38" fmla="*/ 6992 h 10000"/>
                <a:gd name="connsiteX39" fmla="*/ 468 w 10021"/>
                <a:gd name="connsiteY39" fmla="*/ 6842 h 10000"/>
                <a:gd name="connsiteX40" fmla="*/ 540 w 10021"/>
                <a:gd name="connsiteY40" fmla="*/ 6278 h 10000"/>
                <a:gd name="connsiteX41" fmla="*/ 522 w 10021"/>
                <a:gd name="connsiteY41" fmla="*/ 5752 h 10000"/>
                <a:gd name="connsiteX42" fmla="*/ 126 w 10021"/>
                <a:gd name="connsiteY42" fmla="*/ 5828 h 10000"/>
                <a:gd name="connsiteX43" fmla="*/ 216 w 10021"/>
                <a:gd name="connsiteY43" fmla="*/ 5000 h 10000"/>
                <a:gd name="connsiteX44" fmla="*/ 450 w 10021"/>
                <a:gd name="connsiteY44" fmla="*/ 4548 h 10000"/>
                <a:gd name="connsiteX45" fmla="*/ 719 w 10021"/>
                <a:gd name="connsiteY45" fmla="*/ 4399 h 10000"/>
                <a:gd name="connsiteX46" fmla="*/ 1079 w 10021"/>
                <a:gd name="connsiteY46" fmla="*/ 4249 h 10000"/>
                <a:gd name="connsiteX47" fmla="*/ 1565 w 10021"/>
                <a:gd name="connsiteY47" fmla="*/ 4249 h 10000"/>
                <a:gd name="connsiteX48" fmla="*/ 1547 w 10021"/>
                <a:gd name="connsiteY48" fmla="*/ 3910 h 10000"/>
                <a:gd name="connsiteX49" fmla="*/ 1942 w 10021"/>
                <a:gd name="connsiteY49" fmla="*/ 3685 h 10000"/>
                <a:gd name="connsiteX50" fmla="*/ 1601 w 10021"/>
                <a:gd name="connsiteY50" fmla="*/ 3309 h 10000"/>
                <a:gd name="connsiteX51" fmla="*/ 1709 w 10021"/>
                <a:gd name="connsiteY51" fmla="*/ 3082 h 10000"/>
                <a:gd name="connsiteX52" fmla="*/ 2626 w 10021"/>
                <a:gd name="connsiteY52" fmla="*/ 2932 h 10000"/>
                <a:gd name="connsiteX53" fmla="*/ 2752 w 10021"/>
                <a:gd name="connsiteY53" fmla="*/ 2556 h 10000"/>
                <a:gd name="connsiteX54" fmla="*/ 3291 w 10021"/>
                <a:gd name="connsiteY54" fmla="*/ 1616 h 10000"/>
                <a:gd name="connsiteX55" fmla="*/ 3795 w 10021"/>
                <a:gd name="connsiteY55" fmla="*/ 1279 h 10000"/>
                <a:gd name="connsiteX56" fmla="*/ 4209 w 10021"/>
                <a:gd name="connsiteY56" fmla="*/ 1127 h 10000"/>
                <a:gd name="connsiteX57" fmla="*/ 4353 w 10021"/>
                <a:gd name="connsiteY57" fmla="*/ 827 h 10000"/>
                <a:gd name="connsiteX58" fmla="*/ 4514 w 10021"/>
                <a:gd name="connsiteY58" fmla="*/ 903 h 10000"/>
                <a:gd name="connsiteX59" fmla="*/ 4514 w 10021"/>
                <a:gd name="connsiteY59" fmla="*/ 1240 h 10000"/>
                <a:gd name="connsiteX60" fmla="*/ 4730 w 10021"/>
                <a:gd name="connsiteY60" fmla="*/ 1391 h 10000"/>
                <a:gd name="connsiteX61" fmla="*/ 4910 w 10021"/>
                <a:gd name="connsiteY61" fmla="*/ 1127 h 10000"/>
                <a:gd name="connsiteX62" fmla="*/ 5036 w 10021"/>
                <a:gd name="connsiteY62" fmla="*/ 1316 h 10000"/>
                <a:gd name="connsiteX63" fmla="*/ 5108 w 10021"/>
                <a:gd name="connsiteY63" fmla="*/ 1616 h 10000"/>
                <a:gd name="connsiteX64" fmla="*/ 5252 w 10021"/>
                <a:gd name="connsiteY64" fmla="*/ 1730 h 10000"/>
                <a:gd name="connsiteX65" fmla="*/ 5342 w 10021"/>
                <a:gd name="connsiteY65" fmla="*/ 1466 h 10000"/>
                <a:gd name="connsiteX66" fmla="*/ 5486 w 10021"/>
                <a:gd name="connsiteY66" fmla="*/ 1541 h 10000"/>
                <a:gd name="connsiteX67" fmla="*/ 5576 w 10021"/>
                <a:gd name="connsiteY67" fmla="*/ 1730 h 10000"/>
                <a:gd name="connsiteX68" fmla="*/ 6097 w 10021"/>
                <a:gd name="connsiteY68" fmla="*/ 1804 h 10000"/>
                <a:gd name="connsiteX69" fmla="*/ 6673 w 10021"/>
                <a:gd name="connsiteY69" fmla="*/ 1203 h 10000"/>
                <a:gd name="connsiteX70" fmla="*/ 7068 w 10021"/>
                <a:gd name="connsiteY70" fmla="*/ 1279 h 10000"/>
                <a:gd name="connsiteX71" fmla="*/ 7590 w 10021"/>
                <a:gd name="connsiteY71" fmla="*/ 263 h 10000"/>
                <a:gd name="connsiteX72" fmla="*/ 7644 w 10021"/>
                <a:gd name="connsiteY72" fmla="*/ 37 h 10000"/>
                <a:gd name="connsiteX73" fmla="*/ 7698 w 10021"/>
                <a:gd name="connsiteY73" fmla="*/ 0 h 10000"/>
                <a:gd name="connsiteX0" fmla="*/ 7698 w 9227"/>
                <a:gd name="connsiteY0" fmla="*/ 0 h 10000"/>
                <a:gd name="connsiteX1" fmla="*/ 9227 w 9227"/>
                <a:gd name="connsiteY1" fmla="*/ 5151 h 10000"/>
                <a:gd name="connsiteX2" fmla="*/ 8903 w 9227"/>
                <a:gd name="connsiteY2" fmla="*/ 5564 h 10000"/>
                <a:gd name="connsiteX3" fmla="*/ 8687 w 9227"/>
                <a:gd name="connsiteY3" fmla="*/ 5639 h 10000"/>
                <a:gd name="connsiteX4" fmla="*/ 8237 w 9227"/>
                <a:gd name="connsiteY4" fmla="*/ 6128 h 10000"/>
                <a:gd name="connsiteX5" fmla="*/ 7788 w 9227"/>
                <a:gd name="connsiteY5" fmla="*/ 6654 h 10000"/>
                <a:gd name="connsiteX6" fmla="*/ 7230 w 9227"/>
                <a:gd name="connsiteY6" fmla="*/ 7294 h 10000"/>
                <a:gd name="connsiteX7" fmla="*/ 6727 w 9227"/>
                <a:gd name="connsiteY7" fmla="*/ 7218 h 10000"/>
                <a:gd name="connsiteX8" fmla="*/ 6313 w 9227"/>
                <a:gd name="connsiteY8" fmla="*/ 7782 h 10000"/>
                <a:gd name="connsiteX9" fmla="*/ 5935 w 9227"/>
                <a:gd name="connsiteY9" fmla="*/ 7744 h 10000"/>
                <a:gd name="connsiteX10" fmla="*/ 5881 w 9227"/>
                <a:gd name="connsiteY10" fmla="*/ 8120 h 10000"/>
                <a:gd name="connsiteX11" fmla="*/ 5971 w 9227"/>
                <a:gd name="connsiteY11" fmla="*/ 8571 h 10000"/>
                <a:gd name="connsiteX12" fmla="*/ 5809 w 9227"/>
                <a:gd name="connsiteY12" fmla="*/ 9023 h 10000"/>
                <a:gd name="connsiteX13" fmla="*/ 5737 w 9227"/>
                <a:gd name="connsiteY13" fmla="*/ 9248 h 10000"/>
                <a:gd name="connsiteX14" fmla="*/ 5558 w 9227"/>
                <a:gd name="connsiteY14" fmla="*/ 9286 h 10000"/>
                <a:gd name="connsiteX15" fmla="*/ 5576 w 9227"/>
                <a:gd name="connsiteY15" fmla="*/ 8947 h 10000"/>
                <a:gd name="connsiteX16" fmla="*/ 5486 w 9227"/>
                <a:gd name="connsiteY16" fmla="*/ 8609 h 10000"/>
                <a:gd name="connsiteX17" fmla="*/ 5629 w 9227"/>
                <a:gd name="connsiteY17" fmla="*/ 8120 h 10000"/>
                <a:gd name="connsiteX18" fmla="*/ 5576 w 9227"/>
                <a:gd name="connsiteY18" fmla="*/ 7707 h 10000"/>
                <a:gd name="connsiteX19" fmla="*/ 5288 w 9227"/>
                <a:gd name="connsiteY19" fmla="*/ 8270 h 10000"/>
                <a:gd name="connsiteX20" fmla="*/ 4838 w 9227"/>
                <a:gd name="connsiteY20" fmla="*/ 8158 h 10000"/>
                <a:gd name="connsiteX21" fmla="*/ 4514 w 9227"/>
                <a:gd name="connsiteY21" fmla="*/ 8873 h 10000"/>
                <a:gd name="connsiteX22" fmla="*/ 4335 w 9227"/>
                <a:gd name="connsiteY22" fmla="*/ 9211 h 10000"/>
                <a:gd name="connsiteX23" fmla="*/ 3867 w 9227"/>
                <a:gd name="connsiteY23" fmla="*/ 9587 h 10000"/>
                <a:gd name="connsiteX24" fmla="*/ 3471 w 9227"/>
                <a:gd name="connsiteY24" fmla="*/ 8984 h 10000"/>
                <a:gd name="connsiteX25" fmla="*/ 2734 w 9227"/>
                <a:gd name="connsiteY25" fmla="*/ 8760 h 10000"/>
                <a:gd name="connsiteX26" fmla="*/ 2644 w 9227"/>
                <a:gd name="connsiteY26" fmla="*/ 9737 h 10000"/>
                <a:gd name="connsiteX27" fmla="*/ 2320 w 9227"/>
                <a:gd name="connsiteY27" fmla="*/ 9887 h 10000"/>
                <a:gd name="connsiteX28" fmla="*/ 1906 w 9227"/>
                <a:gd name="connsiteY28" fmla="*/ 9587 h 10000"/>
                <a:gd name="connsiteX29" fmla="*/ 1745 w 9227"/>
                <a:gd name="connsiteY29" fmla="*/ 9286 h 10000"/>
                <a:gd name="connsiteX30" fmla="*/ 1493 w 9227"/>
                <a:gd name="connsiteY30" fmla="*/ 9286 h 10000"/>
                <a:gd name="connsiteX31" fmla="*/ 1295 w 9227"/>
                <a:gd name="connsiteY31" fmla="*/ 9549 h 10000"/>
                <a:gd name="connsiteX32" fmla="*/ 1187 w 9227"/>
                <a:gd name="connsiteY32" fmla="*/ 9023 h 10000"/>
                <a:gd name="connsiteX33" fmla="*/ 863 w 9227"/>
                <a:gd name="connsiteY33" fmla="*/ 9023 h 10000"/>
                <a:gd name="connsiteX34" fmla="*/ 773 w 9227"/>
                <a:gd name="connsiteY34" fmla="*/ 7820 h 10000"/>
                <a:gd name="connsiteX35" fmla="*/ 270 w 9227"/>
                <a:gd name="connsiteY35" fmla="*/ 7444 h 10000"/>
                <a:gd name="connsiteX36" fmla="*/ 90 w 9227"/>
                <a:gd name="connsiteY36" fmla="*/ 7632 h 10000"/>
                <a:gd name="connsiteX37" fmla="*/ 72 w 9227"/>
                <a:gd name="connsiteY37" fmla="*/ 6992 h 10000"/>
                <a:gd name="connsiteX38" fmla="*/ 468 w 9227"/>
                <a:gd name="connsiteY38" fmla="*/ 6842 h 10000"/>
                <a:gd name="connsiteX39" fmla="*/ 540 w 9227"/>
                <a:gd name="connsiteY39" fmla="*/ 6278 h 10000"/>
                <a:gd name="connsiteX40" fmla="*/ 522 w 9227"/>
                <a:gd name="connsiteY40" fmla="*/ 5752 h 10000"/>
                <a:gd name="connsiteX41" fmla="*/ 126 w 9227"/>
                <a:gd name="connsiteY41" fmla="*/ 5828 h 10000"/>
                <a:gd name="connsiteX42" fmla="*/ 216 w 9227"/>
                <a:gd name="connsiteY42" fmla="*/ 5000 h 10000"/>
                <a:gd name="connsiteX43" fmla="*/ 450 w 9227"/>
                <a:gd name="connsiteY43" fmla="*/ 4548 h 10000"/>
                <a:gd name="connsiteX44" fmla="*/ 719 w 9227"/>
                <a:gd name="connsiteY44" fmla="*/ 4399 h 10000"/>
                <a:gd name="connsiteX45" fmla="*/ 1079 w 9227"/>
                <a:gd name="connsiteY45" fmla="*/ 4249 h 10000"/>
                <a:gd name="connsiteX46" fmla="*/ 1565 w 9227"/>
                <a:gd name="connsiteY46" fmla="*/ 4249 h 10000"/>
                <a:gd name="connsiteX47" fmla="*/ 1547 w 9227"/>
                <a:gd name="connsiteY47" fmla="*/ 3910 h 10000"/>
                <a:gd name="connsiteX48" fmla="*/ 1942 w 9227"/>
                <a:gd name="connsiteY48" fmla="*/ 3685 h 10000"/>
                <a:gd name="connsiteX49" fmla="*/ 1601 w 9227"/>
                <a:gd name="connsiteY49" fmla="*/ 3309 h 10000"/>
                <a:gd name="connsiteX50" fmla="*/ 1709 w 9227"/>
                <a:gd name="connsiteY50" fmla="*/ 3082 h 10000"/>
                <a:gd name="connsiteX51" fmla="*/ 2626 w 9227"/>
                <a:gd name="connsiteY51" fmla="*/ 2932 h 10000"/>
                <a:gd name="connsiteX52" fmla="*/ 2752 w 9227"/>
                <a:gd name="connsiteY52" fmla="*/ 2556 h 10000"/>
                <a:gd name="connsiteX53" fmla="*/ 3291 w 9227"/>
                <a:gd name="connsiteY53" fmla="*/ 1616 h 10000"/>
                <a:gd name="connsiteX54" fmla="*/ 3795 w 9227"/>
                <a:gd name="connsiteY54" fmla="*/ 1279 h 10000"/>
                <a:gd name="connsiteX55" fmla="*/ 4209 w 9227"/>
                <a:gd name="connsiteY55" fmla="*/ 1127 h 10000"/>
                <a:gd name="connsiteX56" fmla="*/ 4353 w 9227"/>
                <a:gd name="connsiteY56" fmla="*/ 827 h 10000"/>
                <a:gd name="connsiteX57" fmla="*/ 4514 w 9227"/>
                <a:gd name="connsiteY57" fmla="*/ 903 h 10000"/>
                <a:gd name="connsiteX58" fmla="*/ 4514 w 9227"/>
                <a:gd name="connsiteY58" fmla="*/ 1240 h 10000"/>
                <a:gd name="connsiteX59" fmla="*/ 4730 w 9227"/>
                <a:gd name="connsiteY59" fmla="*/ 1391 h 10000"/>
                <a:gd name="connsiteX60" fmla="*/ 4910 w 9227"/>
                <a:gd name="connsiteY60" fmla="*/ 1127 h 10000"/>
                <a:gd name="connsiteX61" fmla="*/ 5036 w 9227"/>
                <a:gd name="connsiteY61" fmla="*/ 1316 h 10000"/>
                <a:gd name="connsiteX62" fmla="*/ 5108 w 9227"/>
                <a:gd name="connsiteY62" fmla="*/ 1616 h 10000"/>
                <a:gd name="connsiteX63" fmla="*/ 5252 w 9227"/>
                <a:gd name="connsiteY63" fmla="*/ 1730 h 10000"/>
                <a:gd name="connsiteX64" fmla="*/ 5342 w 9227"/>
                <a:gd name="connsiteY64" fmla="*/ 1466 h 10000"/>
                <a:gd name="connsiteX65" fmla="*/ 5486 w 9227"/>
                <a:gd name="connsiteY65" fmla="*/ 1541 h 10000"/>
                <a:gd name="connsiteX66" fmla="*/ 5576 w 9227"/>
                <a:gd name="connsiteY66" fmla="*/ 1730 h 10000"/>
                <a:gd name="connsiteX67" fmla="*/ 6097 w 9227"/>
                <a:gd name="connsiteY67" fmla="*/ 1804 h 10000"/>
                <a:gd name="connsiteX68" fmla="*/ 6673 w 9227"/>
                <a:gd name="connsiteY68" fmla="*/ 1203 h 10000"/>
                <a:gd name="connsiteX69" fmla="*/ 7068 w 9227"/>
                <a:gd name="connsiteY69" fmla="*/ 1279 h 10000"/>
                <a:gd name="connsiteX70" fmla="*/ 7590 w 9227"/>
                <a:gd name="connsiteY70" fmla="*/ 263 h 10000"/>
                <a:gd name="connsiteX71" fmla="*/ 7644 w 9227"/>
                <a:gd name="connsiteY71" fmla="*/ 37 h 10000"/>
                <a:gd name="connsiteX72" fmla="*/ 7698 w 9227"/>
                <a:gd name="connsiteY72" fmla="*/ 0 h 10000"/>
                <a:gd name="connsiteX0" fmla="*/ 8343 w 9649"/>
                <a:gd name="connsiteY0" fmla="*/ 0 h 10000"/>
                <a:gd name="connsiteX1" fmla="*/ 9649 w 9649"/>
                <a:gd name="connsiteY1" fmla="*/ 5564 h 10000"/>
                <a:gd name="connsiteX2" fmla="*/ 9415 w 9649"/>
                <a:gd name="connsiteY2" fmla="*/ 5639 h 10000"/>
                <a:gd name="connsiteX3" fmla="*/ 8927 w 9649"/>
                <a:gd name="connsiteY3" fmla="*/ 6128 h 10000"/>
                <a:gd name="connsiteX4" fmla="*/ 8440 w 9649"/>
                <a:gd name="connsiteY4" fmla="*/ 6654 h 10000"/>
                <a:gd name="connsiteX5" fmla="*/ 7836 w 9649"/>
                <a:gd name="connsiteY5" fmla="*/ 7294 h 10000"/>
                <a:gd name="connsiteX6" fmla="*/ 7291 w 9649"/>
                <a:gd name="connsiteY6" fmla="*/ 7218 h 10000"/>
                <a:gd name="connsiteX7" fmla="*/ 6842 w 9649"/>
                <a:gd name="connsiteY7" fmla="*/ 7782 h 10000"/>
                <a:gd name="connsiteX8" fmla="*/ 6432 w 9649"/>
                <a:gd name="connsiteY8" fmla="*/ 7744 h 10000"/>
                <a:gd name="connsiteX9" fmla="*/ 6374 w 9649"/>
                <a:gd name="connsiteY9" fmla="*/ 8120 h 10000"/>
                <a:gd name="connsiteX10" fmla="*/ 6471 w 9649"/>
                <a:gd name="connsiteY10" fmla="*/ 8571 h 10000"/>
                <a:gd name="connsiteX11" fmla="*/ 6296 w 9649"/>
                <a:gd name="connsiteY11" fmla="*/ 9023 h 10000"/>
                <a:gd name="connsiteX12" fmla="*/ 6218 w 9649"/>
                <a:gd name="connsiteY12" fmla="*/ 9248 h 10000"/>
                <a:gd name="connsiteX13" fmla="*/ 6024 w 9649"/>
                <a:gd name="connsiteY13" fmla="*/ 9286 h 10000"/>
                <a:gd name="connsiteX14" fmla="*/ 6043 w 9649"/>
                <a:gd name="connsiteY14" fmla="*/ 8947 h 10000"/>
                <a:gd name="connsiteX15" fmla="*/ 5946 w 9649"/>
                <a:gd name="connsiteY15" fmla="*/ 8609 h 10000"/>
                <a:gd name="connsiteX16" fmla="*/ 6101 w 9649"/>
                <a:gd name="connsiteY16" fmla="*/ 8120 h 10000"/>
                <a:gd name="connsiteX17" fmla="*/ 6043 w 9649"/>
                <a:gd name="connsiteY17" fmla="*/ 7707 h 10000"/>
                <a:gd name="connsiteX18" fmla="*/ 5731 w 9649"/>
                <a:gd name="connsiteY18" fmla="*/ 8270 h 10000"/>
                <a:gd name="connsiteX19" fmla="*/ 5243 w 9649"/>
                <a:gd name="connsiteY19" fmla="*/ 8158 h 10000"/>
                <a:gd name="connsiteX20" fmla="*/ 4892 w 9649"/>
                <a:gd name="connsiteY20" fmla="*/ 8873 h 10000"/>
                <a:gd name="connsiteX21" fmla="*/ 4698 w 9649"/>
                <a:gd name="connsiteY21" fmla="*/ 9211 h 10000"/>
                <a:gd name="connsiteX22" fmla="*/ 4191 w 9649"/>
                <a:gd name="connsiteY22" fmla="*/ 9587 h 10000"/>
                <a:gd name="connsiteX23" fmla="*/ 3762 w 9649"/>
                <a:gd name="connsiteY23" fmla="*/ 8984 h 10000"/>
                <a:gd name="connsiteX24" fmla="*/ 2963 w 9649"/>
                <a:gd name="connsiteY24" fmla="*/ 8760 h 10000"/>
                <a:gd name="connsiteX25" fmla="*/ 2866 w 9649"/>
                <a:gd name="connsiteY25" fmla="*/ 9737 h 10000"/>
                <a:gd name="connsiteX26" fmla="*/ 2514 w 9649"/>
                <a:gd name="connsiteY26" fmla="*/ 9887 h 10000"/>
                <a:gd name="connsiteX27" fmla="*/ 2066 w 9649"/>
                <a:gd name="connsiteY27" fmla="*/ 9587 h 10000"/>
                <a:gd name="connsiteX28" fmla="*/ 1891 w 9649"/>
                <a:gd name="connsiteY28" fmla="*/ 9286 h 10000"/>
                <a:gd name="connsiteX29" fmla="*/ 1618 w 9649"/>
                <a:gd name="connsiteY29" fmla="*/ 9286 h 10000"/>
                <a:gd name="connsiteX30" fmla="*/ 1403 w 9649"/>
                <a:gd name="connsiteY30" fmla="*/ 9549 h 10000"/>
                <a:gd name="connsiteX31" fmla="*/ 1286 w 9649"/>
                <a:gd name="connsiteY31" fmla="*/ 9023 h 10000"/>
                <a:gd name="connsiteX32" fmla="*/ 935 w 9649"/>
                <a:gd name="connsiteY32" fmla="*/ 9023 h 10000"/>
                <a:gd name="connsiteX33" fmla="*/ 838 w 9649"/>
                <a:gd name="connsiteY33" fmla="*/ 7820 h 10000"/>
                <a:gd name="connsiteX34" fmla="*/ 293 w 9649"/>
                <a:gd name="connsiteY34" fmla="*/ 7444 h 10000"/>
                <a:gd name="connsiteX35" fmla="*/ 98 w 9649"/>
                <a:gd name="connsiteY35" fmla="*/ 7632 h 10000"/>
                <a:gd name="connsiteX36" fmla="*/ 78 w 9649"/>
                <a:gd name="connsiteY36" fmla="*/ 6992 h 10000"/>
                <a:gd name="connsiteX37" fmla="*/ 507 w 9649"/>
                <a:gd name="connsiteY37" fmla="*/ 6842 h 10000"/>
                <a:gd name="connsiteX38" fmla="*/ 585 w 9649"/>
                <a:gd name="connsiteY38" fmla="*/ 6278 h 10000"/>
                <a:gd name="connsiteX39" fmla="*/ 566 w 9649"/>
                <a:gd name="connsiteY39" fmla="*/ 5752 h 10000"/>
                <a:gd name="connsiteX40" fmla="*/ 137 w 9649"/>
                <a:gd name="connsiteY40" fmla="*/ 5828 h 10000"/>
                <a:gd name="connsiteX41" fmla="*/ 234 w 9649"/>
                <a:gd name="connsiteY41" fmla="*/ 5000 h 10000"/>
                <a:gd name="connsiteX42" fmla="*/ 488 w 9649"/>
                <a:gd name="connsiteY42" fmla="*/ 4548 h 10000"/>
                <a:gd name="connsiteX43" fmla="*/ 779 w 9649"/>
                <a:gd name="connsiteY43" fmla="*/ 4399 h 10000"/>
                <a:gd name="connsiteX44" fmla="*/ 1169 w 9649"/>
                <a:gd name="connsiteY44" fmla="*/ 4249 h 10000"/>
                <a:gd name="connsiteX45" fmla="*/ 1696 w 9649"/>
                <a:gd name="connsiteY45" fmla="*/ 4249 h 10000"/>
                <a:gd name="connsiteX46" fmla="*/ 1677 w 9649"/>
                <a:gd name="connsiteY46" fmla="*/ 3910 h 10000"/>
                <a:gd name="connsiteX47" fmla="*/ 2105 w 9649"/>
                <a:gd name="connsiteY47" fmla="*/ 3685 h 10000"/>
                <a:gd name="connsiteX48" fmla="*/ 1735 w 9649"/>
                <a:gd name="connsiteY48" fmla="*/ 3309 h 10000"/>
                <a:gd name="connsiteX49" fmla="*/ 1852 w 9649"/>
                <a:gd name="connsiteY49" fmla="*/ 3082 h 10000"/>
                <a:gd name="connsiteX50" fmla="*/ 2846 w 9649"/>
                <a:gd name="connsiteY50" fmla="*/ 2932 h 10000"/>
                <a:gd name="connsiteX51" fmla="*/ 2983 w 9649"/>
                <a:gd name="connsiteY51" fmla="*/ 2556 h 10000"/>
                <a:gd name="connsiteX52" fmla="*/ 3567 w 9649"/>
                <a:gd name="connsiteY52" fmla="*/ 1616 h 10000"/>
                <a:gd name="connsiteX53" fmla="*/ 4113 w 9649"/>
                <a:gd name="connsiteY53" fmla="*/ 1279 h 10000"/>
                <a:gd name="connsiteX54" fmla="*/ 4562 w 9649"/>
                <a:gd name="connsiteY54" fmla="*/ 1127 h 10000"/>
                <a:gd name="connsiteX55" fmla="*/ 4718 w 9649"/>
                <a:gd name="connsiteY55" fmla="*/ 827 h 10000"/>
                <a:gd name="connsiteX56" fmla="*/ 4892 w 9649"/>
                <a:gd name="connsiteY56" fmla="*/ 903 h 10000"/>
                <a:gd name="connsiteX57" fmla="*/ 4892 w 9649"/>
                <a:gd name="connsiteY57" fmla="*/ 1240 h 10000"/>
                <a:gd name="connsiteX58" fmla="*/ 5126 w 9649"/>
                <a:gd name="connsiteY58" fmla="*/ 1391 h 10000"/>
                <a:gd name="connsiteX59" fmla="*/ 5321 w 9649"/>
                <a:gd name="connsiteY59" fmla="*/ 1127 h 10000"/>
                <a:gd name="connsiteX60" fmla="*/ 5458 w 9649"/>
                <a:gd name="connsiteY60" fmla="*/ 1316 h 10000"/>
                <a:gd name="connsiteX61" fmla="*/ 5536 w 9649"/>
                <a:gd name="connsiteY61" fmla="*/ 1616 h 10000"/>
                <a:gd name="connsiteX62" fmla="*/ 5692 w 9649"/>
                <a:gd name="connsiteY62" fmla="*/ 1730 h 10000"/>
                <a:gd name="connsiteX63" fmla="*/ 5790 w 9649"/>
                <a:gd name="connsiteY63" fmla="*/ 1466 h 10000"/>
                <a:gd name="connsiteX64" fmla="*/ 5946 w 9649"/>
                <a:gd name="connsiteY64" fmla="*/ 1541 h 10000"/>
                <a:gd name="connsiteX65" fmla="*/ 6043 w 9649"/>
                <a:gd name="connsiteY65" fmla="*/ 1730 h 10000"/>
                <a:gd name="connsiteX66" fmla="*/ 6608 w 9649"/>
                <a:gd name="connsiteY66" fmla="*/ 1804 h 10000"/>
                <a:gd name="connsiteX67" fmla="*/ 7232 w 9649"/>
                <a:gd name="connsiteY67" fmla="*/ 1203 h 10000"/>
                <a:gd name="connsiteX68" fmla="*/ 7660 w 9649"/>
                <a:gd name="connsiteY68" fmla="*/ 1279 h 10000"/>
                <a:gd name="connsiteX69" fmla="*/ 8226 w 9649"/>
                <a:gd name="connsiteY69" fmla="*/ 263 h 10000"/>
                <a:gd name="connsiteX70" fmla="*/ 8284 w 9649"/>
                <a:gd name="connsiteY70" fmla="*/ 37 h 10000"/>
                <a:gd name="connsiteX71" fmla="*/ 8343 w 9649"/>
                <a:gd name="connsiteY71" fmla="*/ 0 h 10000"/>
                <a:gd name="connsiteX0" fmla="*/ 8646 w 9858"/>
                <a:gd name="connsiteY0" fmla="*/ 0 h 10000"/>
                <a:gd name="connsiteX1" fmla="*/ 9757 w 9858"/>
                <a:gd name="connsiteY1" fmla="*/ 5639 h 10000"/>
                <a:gd name="connsiteX2" fmla="*/ 9252 w 9858"/>
                <a:gd name="connsiteY2" fmla="*/ 6128 h 10000"/>
                <a:gd name="connsiteX3" fmla="*/ 8747 w 9858"/>
                <a:gd name="connsiteY3" fmla="*/ 6654 h 10000"/>
                <a:gd name="connsiteX4" fmla="*/ 8121 w 9858"/>
                <a:gd name="connsiteY4" fmla="*/ 7294 h 10000"/>
                <a:gd name="connsiteX5" fmla="*/ 7556 w 9858"/>
                <a:gd name="connsiteY5" fmla="*/ 7218 h 10000"/>
                <a:gd name="connsiteX6" fmla="*/ 7091 w 9858"/>
                <a:gd name="connsiteY6" fmla="*/ 7782 h 10000"/>
                <a:gd name="connsiteX7" fmla="*/ 6666 w 9858"/>
                <a:gd name="connsiteY7" fmla="*/ 7744 h 10000"/>
                <a:gd name="connsiteX8" fmla="*/ 6606 w 9858"/>
                <a:gd name="connsiteY8" fmla="*/ 8120 h 10000"/>
                <a:gd name="connsiteX9" fmla="*/ 6706 w 9858"/>
                <a:gd name="connsiteY9" fmla="*/ 8571 h 10000"/>
                <a:gd name="connsiteX10" fmla="*/ 6525 w 9858"/>
                <a:gd name="connsiteY10" fmla="*/ 9023 h 10000"/>
                <a:gd name="connsiteX11" fmla="*/ 6444 w 9858"/>
                <a:gd name="connsiteY11" fmla="*/ 9248 h 10000"/>
                <a:gd name="connsiteX12" fmla="*/ 6243 w 9858"/>
                <a:gd name="connsiteY12" fmla="*/ 9286 h 10000"/>
                <a:gd name="connsiteX13" fmla="*/ 6263 w 9858"/>
                <a:gd name="connsiteY13" fmla="*/ 8947 h 10000"/>
                <a:gd name="connsiteX14" fmla="*/ 6162 w 9858"/>
                <a:gd name="connsiteY14" fmla="*/ 8609 h 10000"/>
                <a:gd name="connsiteX15" fmla="*/ 6323 w 9858"/>
                <a:gd name="connsiteY15" fmla="*/ 8120 h 10000"/>
                <a:gd name="connsiteX16" fmla="*/ 6263 w 9858"/>
                <a:gd name="connsiteY16" fmla="*/ 7707 h 10000"/>
                <a:gd name="connsiteX17" fmla="*/ 5939 w 9858"/>
                <a:gd name="connsiteY17" fmla="*/ 8270 h 10000"/>
                <a:gd name="connsiteX18" fmla="*/ 5434 w 9858"/>
                <a:gd name="connsiteY18" fmla="*/ 8158 h 10000"/>
                <a:gd name="connsiteX19" fmla="*/ 5070 w 9858"/>
                <a:gd name="connsiteY19" fmla="*/ 8873 h 10000"/>
                <a:gd name="connsiteX20" fmla="*/ 4869 w 9858"/>
                <a:gd name="connsiteY20" fmla="*/ 9211 h 10000"/>
                <a:gd name="connsiteX21" fmla="*/ 4343 w 9858"/>
                <a:gd name="connsiteY21" fmla="*/ 9587 h 10000"/>
                <a:gd name="connsiteX22" fmla="*/ 3899 w 9858"/>
                <a:gd name="connsiteY22" fmla="*/ 8984 h 10000"/>
                <a:gd name="connsiteX23" fmla="*/ 3071 w 9858"/>
                <a:gd name="connsiteY23" fmla="*/ 8760 h 10000"/>
                <a:gd name="connsiteX24" fmla="*/ 2970 w 9858"/>
                <a:gd name="connsiteY24" fmla="*/ 9737 h 10000"/>
                <a:gd name="connsiteX25" fmla="*/ 2605 w 9858"/>
                <a:gd name="connsiteY25" fmla="*/ 9887 h 10000"/>
                <a:gd name="connsiteX26" fmla="*/ 2141 w 9858"/>
                <a:gd name="connsiteY26" fmla="*/ 9587 h 10000"/>
                <a:gd name="connsiteX27" fmla="*/ 1960 w 9858"/>
                <a:gd name="connsiteY27" fmla="*/ 9286 h 10000"/>
                <a:gd name="connsiteX28" fmla="*/ 1677 w 9858"/>
                <a:gd name="connsiteY28" fmla="*/ 9286 h 10000"/>
                <a:gd name="connsiteX29" fmla="*/ 1454 w 9858"/>
                <a:gd name="connsiteY29" fmla="*/ 9549 h 10000"/>
                <a:gd name="connsiteX30" fmla="*/ 1333 w 9858"/>
                <a:gd name="connsiteY30" fmla="*/ 9023 h 10000"/>
                <a:gd name="connsiteX31" fmla="*/ 969 w 9858"/>
                <a:gd name="connsiteY31" fmla="*/ 9023 h 10000"/>
                <a:gd name="connsiteX32" fmla="*/ 868 w 9858"/>
                <a:gd name="connsiteY32" fmla="*/ 7820 h 10000"/>
                <a:gd name="connsiteX33" fmla="*/ 304 w 9858"/>
                <a:gd name="connsiteY33" fmla="*/ 7444 h 10000"/>
                <a:gd name="connsiteX34" fmla="*/ 102 w 9858"/>
                <a:gd name="connsiteY34" fmla="*/ 7632 h 10000"/>
                <a:gd name="connsiteX35" fmla="*/ 81 w 9858"/>
                <a:gd name="connsiteY35" fmla="*/ 6992 h 10000"/>
                <a:gd name="connsiteX36" fmla="*/ 525 w 9858"/>
                <a:gd name="connsiteY36" fmla="*/ 6842 h 10000"/>
                <a:gd name="connsiteX37" fmla="*/ 606 w 9858"/>
                <a:gd name="connsiteY37" fmla="*/ 6278 h 10000"/>
                <a:gd name="connsiteX38" fmla="*/ 587 w 9858"/>
                <a:gd name="connsiteY38" fmla="*/ 5752 h 10000"/>
                <a:gd name="connsiteX39" fmla="*/ 142 w 9858"/>
                <a:gd name="connsiteY39" fmla="*/ 5828 h 10000"/>
                <a:gd name="connsiteX40" fmla="*/ 243 w 9858"/>
                <a:gd name="connsiteY40" fmla="*/ 5000 h 10000"/>
                <a:gd name="connsiteX41" fmla="*/ 506 w 9858"/>
                <a:gd name="connsiteY41" fmla="*/ 4548 h 10000"/>
                <a:gd name="connsiteX42" fmla="*/ 807 w 9858"/>
                <a:gd name="connsiteY42" fmla="*/ 4399 h 10000"/>
                <a:gd name="connsiteX43" fmla="*/ 1212 w 9858"/>
                <a:gd name="connsiteY43" fmla="*/ 4249 h 10000"/>
                <a:gd name="connsiteX44" fmla="*/ 1758 w 9858"/>
                <a:gd name="connsiteY44" fmla="*/ 4249 h 10000"/>
                <a:gd name="connsiteX45" fmla="*/ 1738 w 9858"/>
                <a:gd name="connsiteY45" fmla="*/ 3910 h 10000"/>
                <a:gd name="connsiteX46" fmla="*/ 2182 w 9858"/>
                <a:gd name="connsiteY46" fmla="*/ 3685 h 10000"/>
                <a:gd name="connsiteX47" fmla="*/ 1798 w 9858"/>
                <a:gd name="connsiteY47" fmla="*/ 3309 h 10000"/>
                <a:gd name="connsiteX48" fmla="*/ 1919 w 9858"/>
                <a:gd name="connsiteY48" fmla="*/ 3082 h 10000"/>
                <a:gd name="connsiteX49" fmla="*/ 2950 w 9858"/>
                <a:gd name="connsiteY49" fmla="*/ 2932 h 10000"/>
                <a:gd name="connsiteX50" fmla="*/ 3092 w 9858"/>
                <a:gd name="connsiteY50" fmla="*/ 2556 h 10000"/>
                <a:gd name="connsiteX51" fmla="*/ 3697 w 9858"/>
                <a:gd name="connsiteY51" fmla="*/ 1616 h 10000"/>
                <a:gd name="connsiteX52" fmla="*/ 4263 w 9858"/>
                <a:gd name="connsiteY52" fmla="*/ 1279 h 10000"/>
                <a:gd name="connsiteX53" fmla="*/ 4728 w 9858"/>
                <a:gd name="connsiteY53" fmla="*/ 1127 h 10000"/>
                <a:gd name="connsiteX54" fmla="*/ 4890 w 9858"/>
                <a:gd name="connsiteY54" fmla="*/ 827 h 10000"/>
                <a:gd name="connsiteX55" fmla="*/ 5070 w 9858"/>
                <a:gd name="connsiteY55" fmla="*/ 903 h 10000"/>
                <a:gd name="connsiteX56" fmla="*/ 5070 w 9858"/>
                <a:gd name="connsiteY56" fmla="*/ 1240 h 10000"/>
                <a:gd name="connsiteX57" fmla="*/ 5312 w 9858"/>
                <a:gd name="connsiteY57" fmla="*/ 1391 h 10000"/>
                <a:gd name="connsiteX58" fmla="*/ 5515 w 9858"/>
                <a:gd name="connsiteY58" fmla="*/ 1127 h 10000"/>
                <a:gd name="connsiteX59" fmla="*/ 5657 w 9858"/>
                <a:gd name="connsiteY59" fmla="*/ 1316 h 10000"/>
                <a:gd name="connsiteX60" fmla="*/ 5737 w 9858"/>
                <a:gd name="connsiteY60" fmla="*/ 1616 h 10000"/>
                <a:gd name="connsiteX61" fmla="*/ 5899 w 9858"/>
                <a:gd name="connsiteY61" fmla="*/ 1730 h 10000"/>
                <a:gd name="connsiteX62" fmla="*/ 6001 w 9858"/>
                <a:gd name="connsiteY62" fmla="*/ 1466 h 10000"/>
                <a:gd name="connsiteX63" fmla="*/ 6162 w 9858"/>
                <a:gd name="connsiteY63" fmla="*/ 1541 h 10000"/>
                <a:gd name="connsiteX64" fmla="*/ 6263 w 9858"/>
                <a:gd name="connsiteY64" fmla="*/ 1730 h 10000"/>
                <a:gd name="connsiteX65" fmla="*/ 6848 w 9858"/>
                <a:gd name="connsiteY65" fmla="*/ 1804 h 10000"/>
                <a:gd name="connsiteX66" fmla="*/ 7495 w 9858"/>
                <a:gd name="connsiteY66" fmla="*/ 1203 h 10000"/>
                <a:gd name="connsiteX67" fmla="*/ 7939 w 9858"/>
                <a:gd name="connsiteY67" fmla="*/ 1279 h 10000"/>
                <a:gd name="connsiteX68" fmla="*/ 8525 w 9858"/>
                <a:gd name="connsiteY68" fmla="*/ 263 h 10000"/>
                <a:gd name="connsiteX69" fmla="*/ 8585 w 9858"/>
                <a:gd name="connsiteY69" fmla="*/ 37 h 10000"/>
                <a:gd name="connsiteX70" fmla="*/ 8646 w 9858"/>
                <a:gd name="connsiteY70" fmla="*/ 0 h 10000"/>
                <a:gd name="connsiteX0" fmla="*/ 8771 w 9385"/>
                <a:gd name="connsiteY0" fmla="*/ 0 h 10000"/>
                <a:gd name="connsiteX1" fmla="*/ 9385 w 9385"/>
                <a:gd name="connsiteY1" fmla="*/ 6128 h 10000"/>
                <a:gd name="connsiteX2" fmla="*/ 8873 w 9385"/>
                <a:gd name="connsiteY2" fmla="*/ 6654 h 10000"/>
                <a:gd name="connsiteX3" fmla="*/ 8238 w 9385"/>
                <a:gd name="connsiteY3" fmla="*/ 7294 h 10000"/>
                <a:gd name="connsiteX4" fmla="*/ 7665 w 9385"/>
                <a:gd name="connsiteY4" fmla="*/ 7218 h 10000"/>
                <a:gd name="connsiteX5" fmla="*/ 7193 w 9385"/>
                <a:gd name="connsiteY5" fmla="*/ 7782 h 10000"/>
                <a:gd name="connsiteX6" fmla="*/ 6762 w 9385"/>
                <a:gd name="connsiteY6" fmla="*/ 7744 h 10000"/>
                <a:gd name="connsiteX7" fmla="*/ 6701 w 9385"/>
                <a:gd name="connsiteY7" fmla="*/ 8120 h 10000"/>
                <a:gd name="connsiteX8" fmla="*/ 6803 w 9385"/>
                <a:gd name="connsiteY8" fmla="*/ 8571 h 10000"/>
                <a:gd name="connsiteX9" fmla="*/ 6619 w 9385"/>
                <a:gd name="connsiteY9" fmla="*/ 9023 h 10000"/>
                <a:gd name="connsiteX10" fmla="*/ 6537 w 9385"/>
                <a:gd name="connsiteY10" fmla="*/ 9248 h 10000"/>
                <a:gd name="connsiteX11" fmla="*/ 6333 w 9385"/>
                <a:gd name="connsiteY11" fmla="*/ 9286 h 10000"/>
                <a:gd name="connsiteX12" fmla="*/ 6353 w 9385"/>
                <a:gd name="connsiteY12" fmla="*/ 8947 h 10000"/>
                <a:gd name="connsiteX13" fmla="*/ 6251 w 9385"/>
                <a:gd name="connsiteY13" fmla="*/ 8609 h 10000"/>
                <a:gd name="connsiteX14" fmla="*/ 6414 w 9385"/>
                <a:gd name="connsiteY14" fmla="*/ 8120 h 10000"/>
                <a:gd name="connsiteX15" fmla="*/ 6353 w 9385"/>
                <a:gd name="connsiteY15" fmla="*/ 7707 h 10000"/>
                <a:gd name="connsiteX16" fmla="*/ 6025 w 9385"/>
                <a:gd name="connsiteY16" fmla="*/ 8270 h 10000"/>
                <a:gd name="connsiteX17" fmla="*/ 5512 w 9385"/>
                <a:gd name="connsiteY17" fmla="*/ 8158 h 10000"/>
                <a:gd name="connsiteX18" fmla="*/ 5143 w 9385"/>
                <a:gd name="connsiteY18" fmla="*/ 8873 h 10000"/>
                <a:gd name="connsiteX19" fmla="*/ 4939 w 9385"/>
                <a:gd name="connsiteY19" fmla="*/ 9211 h 10000"/>
                <a:gd name="connsiteX20" fmla="*/ 4406 w 9385"/>
                <a:gd name="connsiteY20" fmla="*/ 9587 h 10000"/>
                <a:gd name="connsiteX21" fmla="*/ 3955 w 9385"/>
                <a:gd name="connsiteY21" fmla="*/ 8984 h 10000"/>
                <a:gd name="connsiteX22" fmla="*/ 3115 w 9385"/>
                <a:gd name="connsiteY22" fmla="*/ 8760 h 10000"/>
                <a:gd name="connsiteX23" fmla="*/ 3013 w 9385"/>
                <a:gd name="connsiteY23" fmla="*/ 9737 h 10000"/>
                <a:gd name="connsiteX24" fmla="*/ 2643 w 9385"/>
                <a:gd name="connsiteY24" fmla="*/ 9887 h 10000"/>
                <a:gd name="connsiteX25" fmla="*/ 2172 w 9385"/>
                <a:gd name="connsiteY25" fmla="*/ 9587 h 10000"/>
                <a:gd name="connsiteX26" fmla="*/ 1988 w 9385"/>
                <a:gd name="connsiteY26" fmla="*/ 9286 h 10000"/>
                <a:gd name="connsiteX27" fmla="*/ 1701 w 9385"/>
                <a:gd name="connsiteY27" fmla="*/ 9286 h 10000"/>
                <a:gd name="connsiteX28" fmla="*/ 1475 w 9385"/>
                <a:gd name="connsiteY28" fmla="*/ 9549 h 10000"/>
                <a:gd name="connsiteX29" fmla="*/ 1352 w 9385"/>
                <a:gd name="connsiteY29" fmla="*/ 9023 h 10000"/>
                <a:gd name="connsiteX30" fmla="*/ 983 w 9385"/>
                <a:gd name="connsiteY30" fmla="*/ 9023 h 10000"/>
                <a:gd name="connsiteX31" fmla="*/ 881 w 9385"/>
                <a:gd name="connsiteY31" fmla="*/ 7820 h 10000"/>
                <a:gd name="connsiteX32" fmla="*/ 308 w 9385"/>
                <a:gd name="connsiteY32" fmla="*/ 7444 h 10000"/>
                <a:gd name="connsiteX33" fmla="*/ 103 w 9385"/>
                <a:gd name="connsiteY33" fmla="*/ 7632 h 10000"/>
                <a:gd name="connsiteX34" fmla="*/ 82 w 9385"/>
                <a:gd name="connsiteY34" fmla="*/ 6992 h 10000"/>
                <a:gd name="connsiteX35" fmla="*/ 533 w 9385"/>
                <a:gd name="connsiteY35" fmla="*/ 6842 h 10000"/>
                <a:gd name="connsiteX36" fmla="*/ 615 w 9385"/>
                <a:gd name="connsiteY36" fmla="*/ 6278 h 10000"/>
                <a:gd name="connsiteX37" fmla="*/ 595 w 9385"/>
                <a:gd name="connsiteY37" fmla="*/ 5752 h 10000"/>
                <a:gd name="connsiteX38" fmla="*/ 144 w 9385"/>
                <a:gd name="connsiteY38" fmla="*/ 5828 h 10000"/>
                <a:gd name="connsiteX39" fmla="*/ 247 w 9385"/>
                <a:gd name="connsiteY39" fmla="*/ 5000 h 10000"/>
                <a:gd name="connsiteX40" fmla="*/ 513 w 9385"/>
                <a:gd name="connsiteY40" fmla="*/ 4548 h 10000"/>
                <a:gd name="connsiteX41" fmla="*/ 819 w 9385"/>
                <a:gd name="connsiteY41" fmla="*/ 4399 h 10000"/>
                <a:gd name="connsiteX42" fmla="*/ 1229 w 9385"/>
                <a:gd name="connsiteY42" fmla="*/ 4249 h 10000"/>
                <a:gd name="connsiteX43" fmla="*/ 1783 w 9385"/>
                <a:gd name="connsiteY43" fmla="*/ 4249 h 10000"/>
                <a:gd name="connsiteX44" fmla="*/ 1763 w 9385"/>
                <a:gd name="connsiteY44" fmla="*/ 3910 h 10000"/>
                <a:gd name="connsiteX45" fmla="*/ 2213 w 9385"/>
                <a:gd name="connsiteY45" fmla="*/ 3685 h 10000"/>
                <a:gd name="connsiteX46" fmla="*/ 1824 w 9385"/>
                <a:gd name="connsiteY46" fmla="*/ 3309 h 10000"/>
                <a:gd name="connsiteX47" fmla="*/ 1947 w 9385"/>
                <a:gd name="connsiteY47" fmla="*/ 3082 h 10000"/>
                <a:gd name="connsiteX48" fmla="*/ 2992 w 9385"/>
                <a:gd name="connsiteY48" fmla="*/ 2932 h 10000"/>
                <a:gd name="connsiteX49" fmla="*/ 3137 w 9385"/>
                <a:gd name="connsiteY49" fmla="*/ 2556 h 10000"/>
                <a:gd name="connsiteX50" fmla="*/ 3750 w 9385"/>
                <a:gd name="connsiteY50" fmla="*/ 1616 h 10000"/>
                <a:gd name="connsiteX51" fmla="*/ 4324 w 9385"/>
                <a:gd name="connsiteY51" fmla="*/ 1279 h 10000"/>
                <a:gd name="connsiteX52" fmla="*/ 4796 w 9385"/>
                <a:gd name="connsiteY52" fmla="*/ 1127 h 10000"/>
                <a:gd name="connsiteX53" fmla="*/ 4960 w 9385"/>
                <a:gd name="connsiteY53" fmla="*/ 827 h 10000"/>
                <a:gd name="connsiteX54" fmla="*/ 5143 w 9385"/>
                <a:gd name="connsiteY54" fmla="*/ 903 h 10000"/>
                <a:gd name="connsiteX55" fmla="*/ 5143 w 9385"/>
                <a:gd name="connsiteY55" fmla="*/ 1240 h 10000"/>
                <a:gd name="connsiteX56" fmla="*/ 5389 w 9385"/>
                <a:gd name="connsiteY56" fmla="*/ 1391 h 10000"/>
                <a:gd name="connsiteX57" fmla="*/ 5594 w 9385"/>
                <a:gd name="connsiteY57" fmla="*/ 1127 h 10000"/>
                <a:gd name="connsiteX58" fmla="*/ 5738 w 9385"/>
                <a:gd name="connsiteY58" fmla="*/ 1316 h 10000"/>
                <a:gd name="connsiteX59" fmla="*/ 5820 w 9385"/>
                <a:gd name="connsiteY59" fmla="*/ 1616 h 10000"/>
                <a:gd name="connsiteX60" fmla="*/ 5984 w 9385"/>
                <a:gd name="connsiteY60" fmla="*/ 1730 h 10000"/>
                <a:gd name="connsiteX61" fmla="*/ 6087 w 9385"/>
                <a:gd name="connsiteY61" fmla="*/ 1466 h 10000"/>
                <a:gd name="connsiteX62" fmla="*/ 6251 w 9385"/>
                <a:gd name="connsiteY62" fmla="*/ 1541 h 10000"/>
                <a:gd name="connsiteX63" fmla="*/ 6353 w 9385"/>
                <a:gd name="connsiteY63" fmla="*/ 1730 h 10000"/>
                <a:gd name="connsiteX64" fmla="*/ 6947 w 9385"/>
                <a:gd name="connsiteY64" fmla="*/ 1804 h 10000"/>
                <a:gd name="connsiteX65" fmla="*/ 7603 w 9385"/>
                <a:gd name="connsiteY65" fmla="*/ 1203 h 10000"/>
                <a:gd name="connsiteX66" fmla="*/ 8053 w 9385"/>
                <a:gd name="connsiteY66" fmla="*/ 1279 h 10000"/>
                <a:gd name="connsiteX67" fmla="*/ 8648 w 9385"/>
                <a:gd name="connsiteY67" fmla="*/ 263 h 10000"/>
                <a:gd name="connsiteX68" fmla="*/ 8709 w 9385"/>
                <a:gd name="connsiteY68" fmla="*/ 37 h 10000"/>
                <a:gd name="connsiteX69" fmla="*/ 8771 w 9385"/>
                <a:gd name="connsiteY69" fmla="*/ 0 h 10000"/>
                <a:gd name="connsiteX0" fmla="*/ 9346 w 9549"/>
                <a:gd name="connsiteY0" fmla="*/ 0 h 10000"/>
                <a:gd name="connsiteX1" fmla="*/ 9454 w 9549"/>
                <a:gd name="connsiteY1" fmla="*/ 6654 h 10000"/>
                <a:gd name="connsiteX2" fmla="*/ 8778 w 9549"/>
                <a:gd name="connsiteY2" fmla="*/ 7294 h 10000"/>
                <a:gd name="connsiteX3" fmla="*/ 8167 w 9549"/>
                <a:gd name="connsiteY3" fmla="*/ 7218 h 10000"/>
                <a:gd name="connsiteX4" fmla="*/ 7664 w 9549"/>
                <a:gd name="connsiteY4" fmla="*/ 7782 h 10000"/>
                <a:gd name="connsiteX5" fmla="*/ 7205 w 9549"/>
                <a:gd name="connsiteY5" fmla="*/ 7744 h 10000"/>
                <a:gd name="connsiteX6" fmla="*/ 7140 w 9549"/>
                <a:gd name="connsiteY6" fmla="*/ 8120 h 10000"/>
                <a:gd name="connsiteX7" fmla="*/ 7249 w 9549"/>
                <a:gd name="connsiteY7" fmla="*/ 8571 h 10000"/>
                <a:gd name="connsiteX8" fmla="*/ 7053 w 9549"/>
                <a:gd name="connsiteY8" fmla="*/ 9023 h 10000"/>
                <a:gd name="connsiteX9" fmla="*/ 6965 w 9549"/>
                <a:gd name="connsiteY9" fmla="*/ 9248 h 10000"/>
                <a:gd name="connsiteX10" fmla="*/ 6748 w 9549"/>
                <a:gd name="connsiteY10" fmla="*/ 9286 h 10000"/>
                <a:gd name="connsiteX11" fmla="*/ 6769 w 9549"/>
                <a:gd name="connsiteY11" fmla="*/ 8947 h 10000"/>
                <a:gd name="connsiteX12" fmla="*/ 6661 w 9549"/>
                <a:gd name="connsiteY12" fmla="*/ 8609 h 10000"/>
                <a:gd name="connsiteX13" fmla="*/ 6834 w 9549"/>
                <a:gd name="connsiteY13" fmla="*/ 8120 h 10000"/>
                <a:gd name="connsiteX14" fmla="*/ 6769 w 9549"/>
                <a:gd name="connsiteY14" fmla="*/ 7707 h 10000"/>
                <a:gd name="connsiteX15" fmla="*/ 6420 w 9549"/>
                <a:gd name="connsiteY15" fmla="*/ 8270 h 10000"/>
                <a:gd name="connsiteX16" fmla="*/ 5873 w 9549"/>
                <a:gd name="connsiteY16" fmla="*/ 8158 h 10000"/>
                <a:gd name="connsiteX17" fmla="*/ 5480 w 9549"/>
                <a:gd name="connsiteY17" fmla="*/ 8873 h 10000"/>
                <a:gd name="connsiteX18" fmla="*/ 5263 w 9549"/>
                <a:gd name="connsiteY18" fmla="*/ 9211 h 10000"/>
                <a:gd name="connsiteX19" fmla="*/ 4695 w 9549"/>
                <a:gd name="connsiteY19" fmla="*/ 9587 h 10000"/>
                <a:gd name="connsiteX20" fmla="*/ 4214 w 9549"/>
                <a:gd name="connsiteY20" fmla="*/ 8984 h 10000"/>
                <a:gd name="connsiteX21" fmla="*/ 3319 w 9549"/>
                <a:gd name="connsiteY21" fmla="*/ 8760 h 10000"/>
                <a:gd name="connsiteX22" fmla="*/ 3210 w 9549"/>
                <a:gd name="connsiteY22" fmla="*/ 9737 h 10000"/>
                <a:gd name="connsiteX23" fmla="*/ 2816 w 9549"/>
                <a:gd name="connsiteY23" fmla="*/ 9887 h 10000"/>
                <a:gd name="connsiteX24" fmla="*/ 2314 w 9549"/>
                <a:gd name="connsiteY24" fmla="*/ 9587 h 10000"/>
                <a:gd name="connsiteX25" fmla="*/ 2118 w 9549"/>
                <a:gd name="connsiteY25" fmla="*/ 9286 h 10000"/>
                <a:gd name="connsiteX26" fmla="*/ 1812 w 9549"/>
                <a:gd name="connsiteY26" fmla="*/ 9286 h 10000"/>
                <a:gd name="connsiteX27" fmla="*/ 1572 w 9549"/>
                <a:gd name="connsiteY27" fmla="*/ 9549 h 10000"/>
                <a:gd name="connsiteX28" fmla="*/ 1441 w 9549"/>
                <a:gd name="connsiteY28" fmla="*/ 9023 h 10000"/>
                <a:gd name="connsiteX29" fmla="*/ 1047 w 9549"/>
                <a:gd name="connsiteY29" fmla="*/ 9023 h 10000"/>
                <a:gd name="connsiteX30" fmla="*/ 939 w 9549"/>
                <a:gd name="connsiteY30" fmla="*/ 7820 h 10000"/>
                <a:gd name="connsiteX31" fmla="*/ 328 w 9549"/>
                <a:gd name="connsiteY31" fmla="*/ 7444 h 10000"/>
                <a:gd name="connsiteX32" fmla="*/ 110 w 9549"/>
                <a:gd name="connsiteY32" fmla="*/ 7632 h 10000"/>
                <a:gd name="connsiteX33" fmla="*/ 87 w 9549"/>
                <a:gd name="connsiteY33" fmla="*/ 6992 h 10000"/>
                <a:gd name="connsiteX34" fmla="*/ 568 w 9549"/>
                <a:gd name="connsiteY34" fmla="*/ 6842 h 10000"/>
                <a:gd name="connsiteX35" fmla="*/ 655 w 9549"/>
                <a:gd name="connsiteY35" fmla="*/ 6278 h 10000"/>
                <a:gd name="connsiteX36" fmla="*/ 634 w 9549"/>
                <a:gd name="connsiteY36" fmla="*/ 5752 h 10000"/>
                <a:gd name="connsiteX37" fmla="*/ 153 w 9549"/>
                <a:gd name="connsiteY37" fmla="*/ 5828 h 10000"/>
                <a:gd name="connsiteX38" fmla="*/ 263 w 9549"/>
                <a:gd name="connsiteY38" fmla="*/ 5000 h 10000"/>
                <a:gd name="connsiteX39" fmla="*/ 547 w 9549"/>
                <a:gd name="connsiteY39" fmla="*/ 4548 h 10000"/>
                <a:gd name="connsiteX40" fmla="*/ 873 w 9549"/>
                <a:gd name="connsiteY40" fmla="*/ 4399 h 10000"/>
                <a:gd name="connsiteX41" fmla="*/ 1310 w 9549"/>
                <a:gd name="connsiteY41" fmla="*/ 4249 h 10000"/>
                <a:gd name="connsiteX42" fmla="*/ 1900 w 9549"/>
                <a:gd name="connsiteY42" fmla="*/ 4249 h 10000"/>
                <a:gd name="connsiteX43" fmla="*/ 1879 w 9549"/>
                <a:gd name="connsiteY43" fmla="*/ 3910 h 10000"/>
                <a:gd name="connsiteX44" fmla="*/ 2358 w 9549"/>
                <a:gd name="connsiteY44" fmla="*/ 3685 h 10000"/>
                <a:gd name="connsiteX45" fmla="*/ 1944 w 9549"/>
                <a:gd name="connsiteY45" fmla="*/ 3309 h 10000"/>
                <a:gd name="connsiteX46" fmla="*/ 2075 w 9549"/>
                <a:gd name="connsiteY46" fmla="*/ 3082 h 10000"/>
                <a:gd name="connsiteX47" fmla="*/ 3188 w 9549"/>
                <a:gd name="connsiteY47" fmla="*/ 2932 h 10000"/>
                <a:gd name="connsiteX48" fmla="*/ 3343 w 9549"/>
                <a:gd name="connsiteY48" fmla="*/ 2556 h 10000"/>
                <a:gd name="connsiteX49" fmla="*/ 3996 w 9549"/>
                <a:gd name="connsiteY49" fmla="*/ 1616 h 10000"/>
                <a:gd name="connsiteX50" fmla="*/ 4607 w 9549"/>
                <a:gd name="connsiteY50" fmla="*/ 1279 h 10000"/>
                <a:gd name="connsiteX51" fmla="*/ 5110 w 9549"/>
                <a:gd name="connsiteY51" fmla="*/ 1127 h 10000"/>
                <a:gd name="connsiteX52" fmla="*/ 5285 w 9549"/>
                <a:gd name="connsiteY52" fmla="*/ 827 h 10000"/>
                <a:gd name="connsiteX53" fmla="*/ 5480 w 9549"/>
                <a:gd name="connsiteY53" fmla="*/ 903 h 10000"/>
                <a:gd name="connsiteX54" fmla="*/ 5480 w 9549"/>
                <a:gd name="connsiteY54" fmla="*/ 1240 h 10000"/>
                <a:gd name="connsiteX55" fmla="*/ 5742 w 9549"/>
                <a:gd name="connsiteY55" fmla="*/ 1391 h 10000"/>
                <a:gd name="connsiteX56" fmla="*/ 5961 w 9549"/>
                <a:gd name="connsiteY56" fmla="*/ 1127 h 10000"/>
                <a:gd name="connsiteX57" fmla="*/ 6114 w 9549"/>
                <a:gd name="connsiteY57" fmla="*/ 1316 h 10000"/>
                <a:gd name="connsiteX58" fmla="*/ 6201 w 9549"/>
                <a:gd name="connsiteY58" fmla="*/ 1616 h 10000"/>
                <a:gd name="connsiteX59" fmla="*/ 6376 w 9549"/>
                <a:gd name="connsiteY59" fmla="*/ 1730 h 10000"/>
                <a:gd name="connsiteX60" fmla="*/ 6486 w 9549"/>
                <a:gd name="connsiteY60" fmla="*/ 1466 h 10000"/>
                <a:gd name="connsiteX61" fmla="*/ 6661 w 9549"/>
                <a:gd name="connsiteY61" fmla="*/ 1541 h 10000"/>
                <a:gd name="connsiteX62" fmla="*/ 6769 w 9549"/>
                <a:gd name="connsiteY62" fmla="*/ 1730 h 10000"/>
                <a:gd name="connsiteX63" fmla="*/ 7402 w 9549"/>
                <a:gd name="connsiteY63" fmla="*/ 1804 h 10000"/>
                <a:gd name="connsiteX64" fmla="*/ 8101 w 9549"/>
                <a:gd name="connsiteY64" fmla="*/ 1203 h 10000"/>
                <a:gd name="connsiteX65" fmla="*/ 8581 w 9549"/>
                <a:gd name="connsiteY65" fmla="*/ 1279 h 10000"/>
                <a:gd name="connsiteX66" fmla="*/ 9215 w 9549"/>
                <a:gd name="connsiteY66" fmla="*/ 263 h 10000"/>
                <a:gd name="connsiteX67" fmla="*/ 9280 w 9549"/>
                <a:gd name="connsiteY67" fmla="*/ 37 h 10000"/>
                <a:gd name="connsiteX68" fmla="*/ 9346 w 9549"/>
                <a:gd name="connsiteY68" fmla="*/ 0 h 10000"/>
                <a:gd name="connsiteX0" fmla="*/ 9787 w 9787"/>
                <a:gd name="connsiteY0" fmla="*/ 0 h 10000"/>
                <a:gd name="connsiteX1" fmla="*/ 9193 w 9787"/>
                <a:gd name="connsiteY1" fmla="*/ 7294 h 10000"/>
                <a:gd name="connsiteX2" fmla="*/ 8553 w 9787"/>
                <a:gd name="connsiteY2" fmla="*/ 7218 h 10000"/>
                <a:gd name="connsiteX3" fmla="*/ 8026 w 9787"/>
                <a:gd name="connsiteY3" fmla="*/ 7782 h 10000"/>
                <a:gd name="connsiteX4" fmla="*/ 7545 w 9787"/>
                <a:gd name="connsiteY4" fmla="*/ 7744 h 10000"/>
                <a:gd name="connsiteX5" fmla="*/ 7477 w 9787"/>
                <a:gd name="connsiteY5" fmla="*/ 8120 h 10000"/>
                <a:gd name="connsiteX6" fmla="*/ 7591 w 9787"/>
                <a:gd name="connsiteY6" fmla="*/ 8571 h 10000"/>
                <a:gd name="connsiteX7" fmla="*/ 7386 w 9787"/>
                <a:gd name="connsiteY7" fmla="*/ 9023 h 10000"/>
                <a:gd name="connsiteX8" fmla="*/ 7294 w 9787"/>
                <a:gd name="connsiteY8" fmla="*/ 9248 h 10000"/>
                <a:gd name="connsiteX9" fmla="*/ 7067 w 9787"/>
                <a:gd name="connsiteY9" fmla="*/ 9286 h 10000"/>
                <a:gd name="connsiteX10" fmla="*/ 7089 w 9787"/>
                <a:gd name="connsiteY10" fmla="*/ 8947 h 10000"/>
                <a:gd name="connsiteX11" fmla="*/ 6976 w 9787"/>
                <a:gd name="connsiteY11" fmla="*/ 8609 h 10000"/>
                <a:gd name="connsiteX12" fmla="*/ 7157 w 9787"/>
                <a:gd name="connsiteY12" fmla="*/ 8120 h 10000"/>
                <a:gd name="connsiteX13" fmla="*/ 7089 w 9787"/>
                <a:gd name="connsiteY13" fmla="*/ 7707 h 10000"/>
                <a:gd name="connsiteX14" fmla="*/ 6723 w 9787"/>
                <a:gd name="connsiteY14" fmla="*/ 8270 h 10000"/>
                <a:gd name="connsiteX15" fmla="*/ 6150 w 9787"/>
                <a:gd name="connsiteY15" fmla="*/ 8158 h 10000"/>
                <a:gd name="connsiteX16" fmla="*/ 5739 w 9787"/>
                <a:gd name="connsiteY16" fmla="*/ 8873 h 10000"/>
                <a:gd name="connsiteX17" fmla="*/ 5512 w 9787"/>
                <a:gd name="connsiteY17" fmla="*/ 9211 h 10000"/>
                <a:gd name="connsiteX18" fmla="*/ 4917 w 9787"/>
                <a:gd name="connsiteY18" fmla="*/ 9587 h 10000"/>
                <a:gd name="connsiteX19" fmla="*/ 4413 w 9787"/>
                <a:gd name="connsiteY19" fmla="*/ 8984 h 10000"/>
                <a:gd name="connsiteX20" fmla="*/ 3476 w 9787"/>
                <a:gd name="connsiteY20" fmla="*/ 8760 h 10000"/>
                <a:gd name="connsiteX21" fmla="*/ 3362 w 9787"/>
                <a:gd name="connsiteY21" fmla="*/ 9737 h 10000"/>
                <a:gd name="connsiteX22" fmla="*/ 2949 w 9787"/>
                <a:gd name="connsiteY22" fmla="*/ 9887 h 10000"/>
                <a:gd name="connsiteX23" fmla="*/ 2423 w 9787"/>
                <a:gd name="connsiteY23" fmla="*/ 9587 h 10000"/>
                <a:gd name="connsiteX24" fmla="*/ 2218 w 9787"/>
                <a:gd name="connsiteY24" fmla="*/ 9286 h 10000"/>
                <a:gd name="connsiteX25" fmla="*/ 1898 w 9787"/>
                <a:gd name="connsiteY25" fmla="*/ 9286 h 10000"/>
                <a:gd name="connsiteX26" fmla="*/ 1646 w 9787"/>
                <a:gd name="connsiteY26" fmla="*/ 9549 h 10000"/>
                <a:gd name="connsiteX27" fmla="*/ 1509 w 9787"/>
                <a:gd name="connsiteY27" fmla="*/ 9023 h 10000"/>
                <a:gd name="connsiteX28" fmla="*/ 1096 w 9787"/>
                <a:gd name="connsiteY28" fmla="*/ 9023 h 10000"/>
                <a:gd name="connsiteX29" fmla="*/ 983 w 9787"/>
                <a:gd name="connsiteY29" fmla="*/ 7820 h 10000"/>
                <a:gd name="connsiteX30" fmla="*/ 343 w 9787"/>
                <a:gd name="connsiteY30" fmla="*/ 7444 h 10000"/>
                <a:gd name="connsiteX31" fmla="*/ 115 w 9787"/>
                <a:gd name="connsiteY31" fmla="*/ 7632 h 10000"/>
                <a:gd name="connsiteX32" fmla="*/ 91 w 9787"/>
                <a:gd name="connsiteY32" fmla="*/ 6992 h 10000"/>
                <a:gd name="connsiteX33" fmla="*/ 595 w 9787"/>
                <a:gd name="connsiteY33" fmla="*/ 6842 h 10000"/>
                <a:gd name="connsiteX34" fmla="*/ 686 w 9787"/>
                <a:gd name="connsiteY34" fmla="*/ 6278 h 10000"/>
                <a:gd name="connsiteX35" fmla="*/ 664 w 9787"/>
                <a:gd name="connsiteY35" fmla="*/ 5752 h 10000"/>
                <a:gd name="connsiteX36" fmla="*/ 160 w 9787"/>
                <a:gd name="connsiteY36" fmla="*/ 5828 h 10000"/>
                <a:gd name="connsiteX37" fmla="*/ 275 w 9787"/>
                <a:gd name="connsiteY37" fmla="*/ 5000 h 10000"/>
                <a:gd name="connsiteX38" fmla="*/ 573 w 9787"/>
                <a:gd name="connsiteY38" fmla="*/ 4548 h 10000"/>
                <a:gd name="connsiteX39" fmla="*/ 914 w 9787"/>
                <a:gd name="connsiteY39" fmla="*/ 4399 h 10000"/>
                <a:gd name="connsiteX40" fmla="*/ 1372 w 9787"/>
                <a:gd name="connsiteY40" fmla="*/ 4249 h 10000"/>
                <a:gd name="connsiteX41" fmla="*/ 1990 w 9787"/>
                <a:gd name="connsiteY41" fmla="*/ 4249 h 10000"/>
                <a:gd name="connsiteX42" fmla="*/ 1968 w 9787"/>
                <a:gd name="connsiteY42" fmla="*/ 3910 h 10000"/>
                <a:gd name="connsiteX43" fmla="*/ 2469 w 9787"/>
                <a:gd name="connsiteY43" fmla="*/ 3685 h 10000"/>
                <a:gd name="connsiteX44" fmla="*/ 2036 w 9787"/>
                <a:gd name="connsiteY44" fmla="*/ 3309 h 10000"/>
                <a:gd name="connsiteX45" fmla="*/ 2173 w 9787"/>
                <a:gd name="connsiteY45" fmla="*/ 3082 h 10000"/>
                <a:gd name="connsiteX46" fmla="*/ 3339 w 9787"/>
                <a:gd name="connsiteY46" fmla="*/ 2932 h 10000"/>
                <a:gd name="connsiteX47" fmla="*/ 3501 w 9787"/>
                <a:gd name="connsiteY47" fmla="*/ 2556 h 10000"/>
                <a:gd name="connsiteX48" fmla="*/ 4185 w 9787"/>
                <a:gd name="connsiteY48" fmla="*/ 1616 h 10000"/>
                <a:gd name="connsiteX49" fmla="*/ 4825 w 9787"/>
                <a:gd name="connsiteY49" fmla="*/ 1279 h 10000"/>
                <a:gd name="connsiteX50" fmla="*/ 5351 w 9787"/>
                <a:gd name="connsiteY50" fmla="*/ 1127 h 10000"/>
                <a:gd name="connsiteX51" fmla="*/ 5535 w 9787"/>
                <a:gd name="connsiteY51" fmla="*/ 827 h 10000"/>
                <a:gd name="connsiteX52" fmla="*/ 5739 w 9787"/>
                <a:gd name="connsiteY52" fmla="*/ 903 h 10000"/>
                <a:gd name="connsiteX53" fmla="*/ 5739 w 9787"/>
                <a:gd name="connsiteY53" fmla="*/ 1240 h 10000"/>
                <a:gd name="connsiteX54" fmla="*/ 6013 w 9787"/>
                <a:gd name="connsiteY54" fmla="*/ 1391 h 10000"/>
                <a:gd name="connsiteX55" fmla="*/ 6243 w 9787"/>
                <a:gd name="connsiteY55" fmla="*/ 1127 h 10000"/>
                <a:gd name="connsiteX56" fmla="*/ 6403 w 9787"/>
                <a:gd name="connsiteY56" fmla="*/ 1316 h 10000"/>
                <a:gd name="connsiteX57" fmla="*/ 6494 w 9787"/>
                <a:gd name="connsiteY57" fmla="*/ 1616 h 10000"/>
                <a:gd name="connsiteX58" fmla="*/ 6677 w 9787"/>
                <a:gd name="connsiteY58" fmla="*/ 1730 h 10000"/>
                <a:gd name="connsiteX59" fmla="*/ 6792 w 9787"/>
                <a:gd name="connsiteY59" fmla="*/ 1466 h 10000"/>
                <a:gd name="connsiteX60" fmla="*/ 6976 w 9787"/>
                <a:gd name="connsiteY60" fmla="*/ 1541 h 10000"/>
                <a:gd name="connsiteX61" fmla="*/ 7089 w 9787"/>
                <a:gd name="connsiteY61" fmla="*/ 1730 h 10000"/>
                <a:gd name="connsiteX62" fmla="*/ 7752 w 9787"/>
                <a:gd name="connsiteY62" fmla="*/ 1804 h 10000"/>
                <a:gd name="connsiteX63" fmla="*/ 8484 w 9787"/>
                <a:gd name="connsiteY63" fmla="*/ 1203 h 10000"/>
                <a:gd name="connsiteX64" fmla="*/ 8986 w 9787"/>
                <a:gd name="connsiteY64" fmla="*/ 1279 h 10000"/>
                <a:gd name="connsiteX65" fmla="*/ 9650 w 9787"/>
                <a:gd name="connsiteY65" fmla="*/ 263 h 10000"/>
                <a:gd name="connsiteX66" fmla="*/ 9718 w 9787"/>
                <a:gd name="connsiteY66" fmla="*/ 37 h 10000"/>
                <a:gd name="connsiteX67" fmla="*/ 9787 w 9787"/>
                <a:gd name="connsiteY67" fmla="*/ 0 h 10000"/>
                <a:gd name="connsiteX0" fmla="*/ 9929 w 9929"/>
                <a:gd name="connsiteY0" fmla="*/ 0 h 9963"/>
                <a:gd name="connsiteX1" fmla="*/ 9393 w 9929"/>
                <a:gd name="connsiteY1" fmla="*/ 7257 h 9963"/>
                <a:gd name="connsiteX2" fmla="*/ 8739 w 9929"/>
                <a:gd name="connsiteY2" fmla="*/ 7181 h 9963"/>
                <a:gd name="connsiteX3" fmla="*/ 8201 w 9929"/>
                <a:gd name="connsiteY3" fmla="*/ 7745 h 9963"/>
                <a:gd name="connsiteX4" fmla="*/ 7709 w 9929"/>
                <a:gd name="connsiteY4" fmla="*/ 7707 h 9963"/>
                <a:gd name="connsiteX5" fmla="*/ 7640 w 9929"/>
                <a:gd name="connsiteY5" fmla="*/ 8083 h 9963"/>
                <a:gd name="connsiteX6" fmla="*/ 7756 w 9929"/>
                <a:gd name="connsiteY6" fmla="*/ 8534 h 9963"/>
                <a:gd name="connsiteX7" fmla="*/ 7547 w 9929"/>
                <a:gd name="connsiteY7" fmla="*/ 8986 h 9963"/>
                <a:gd name="connsiteX8" fmla="*/ 7453 w 9929"/>
                <a:gd name="connsiteY8" fmla="*/ 9211 h 9963"/>
                <a:gd name="connsiteX9" fmla="*/ 7221 w 9929"/>
                <a:gd name="connsiteY9" fmla="*/ 9249 h 9963"/>
                <a:gd name="connsiteX10" fmla="*/ 7243 w 9929"/>
                <a:gd name="connsiteY10" fmla="*/ 8910 h 9963"/>
                <a:gd name="connsiteX11" fmla="*/ 7128 w 9929"/>
                <a:gd name="connsiteY11" fmla="*/ 8572 h 9963"/>
                <a:gd name="connsiteX12" fmla="*/ 7313 w 9929"/>
                <a:gd name="connsiteY12" fmla="*/ 8083 h 9963"/>
                <a:gd name="connsiteX13" fmla="*/ 7243 w 9929"/>
                <a:gd name="connsiteY13" fmla="*/ 7670 h 9963"/>
                <a:gd name="connsiteX14" fmla="*/ 6869 w 9929"/>
                <a:gd name="connsiteY14" fmla="*/ 8233 h 9963"/>
                <a:gd name="connsiteX15" fmla="*/ 6284 w 9929"/>
                <a:gd name="connsiteY15" fmla="*/ 8121 h 9963"/>
                <a:gd name="connsiteX16" fmla="*/ 5864 w 9929"/>
                <a:gd name="connsiteY16" fmla="*/ 8836 h 9963"/>
                <a:gd name="connsiteX17" fmla="*/ 5632 w 9929"/>
                <a:gd name="connsiteY17" fmla="*/ 9174 h 9963"/>
                <a:gd name="connsiteX18" fmla="*/ 5024 w 9929"/>
                <a:gd name="connsiteY18" fmla="*/ 9550 h 9963"/>
                <a:gd name="connsiteX19" fmla="*/ 4509 w 9929"/>
                <a:gd name="connsiteY19" fmla="*/ 8947 h 9963"/>
                <a:gd name="connsiteX20" fmla="*/ 3552 w 9929"/>
                <a:gd name="connsiteY20" fmla="*/ 8723 h 9963"/>
                <a:gd name="connsiteX21" fmla="*/ 3435 w 9929"/>
                <a:gd name="connsiteY21" fmla="*/ 9700 h 9963"/>
                <a:gd name="connsiteX22" fmla="*/ 3013 w 9929"/>
                <a:gd name="connsiteY22" fmla="*/ 9850 h 9963"/>
                <a:gd name="connsiteX23" fmla="*/ 2476 w 9929"/>
                <a:gd name="connsiteY23" fmla="*/ 9550 h 9963"/>
                <a:gd name="connsiteX24" fmla="*/ 2266 w 9929"/>
                <a:gd name="connsiteY24" fmla="*/ 9249 h 9963"/>
                <a:gd name="connsiteX25" fmla="*/ 1939 w 9929"/>
                <a:gd name="connsiteY25" fmla="*/ 9249 h 9963"/>
                <a:gd name="connsiteX26" fmla="*/ 1682 w 9929"/>
                <a:gd name="connsiteY26" fmla="*/ 9512 h 9963"/>
                <a:gd name="connsiteX27" fmla="*/ 1542 w 9929"/>
                <a:gd name="connsiteY27" fmla="*/ 8986 h 9963"/>
                <a:gd name="connsiteX28" fmla="*/ 1120 w 9929"/>
                <a:gd name="connsiteY28" fmla="*/ 8986 h 9963"/>
                <a:gd name="connsiteX29" fmla="*/ 1004 w 9929"/>
                <a:gd name="connsiteY29" fmla="*/ 7783 h 9963"/>
                <a:gd name="connsiteX30" fmla="*/ 350 w 9929"/>
                <a:gd name="connsiteY30" fmla="*/ 7407 h 9963"/>
                <a:gd name="connsiteX31" fmla="*/ 118 w 9929"/>
                <a:gd name="connsiteY31" fmla="*/ 7595 h 9963"/>
                <a:gd name="connsiteX32" fmla="*/ 93 w 9929"/>
                <a:gd name="connsiteY32" fmla="*/ 6955 h 9963"/>
                <a:gd name="connsiteX33" fmla="*/ 608 w 9929"/>
                <a:gd name="connsiteY33" fmla="*/ 6805 h 9963"/>
                <a:gd name="connsiteX34" fmla="*/ 701 w 9929"/>
                <a:gd name="connsiteY34" fmla="*/ 6241 h 9963"/>
                <a:gd name="connsiteX35" fmla="*/ 678 w 9929"/>
                <a:gd name="connsiteY35" fmla="*/ 5715 h 9963"/>
                <a:gd name="connsiteX36" fmla="*/ 163 w 9929"/>
                <a:gd name="connsiteY36" fmla="*/ 5791 h 9963"/>
                <a:gd name="connsiteX37" fmla="*/ 281 w 9929"/>
                <a:gd name="connsiteY37" fmla="*/ 4963 h 9963"/>
                <a:gd name="connsiteX38" fmla="*/ 585 w 9929"/>
                <a:gd name="connsiteY38" fmla="*/ 4511 h 9963"/>
                <a:gd name="connsiteX39" fmla="*/ 934 w 9929"/>
                <a:gd name="connsiteY39" fmla="*/ 4362 h 9963"/>
                <a:gd name="connsiteX40" fmla="*/ 1402 w 9929"/>
                <a:gd name="connsiteY40" fmla="*/ 4212 h 9963"/>
                <a:gd name="connsiteX41" fmla="*/ 2033 w 9929"/>
                <a:gd name="connsiteY41" fmla="*/ 4212 h 9963"/>
                <a:gd name="connsiteX42" fmla="*/ 2011 w 9929"/>
                <a:gd name="connsiteY42" fmla="*/ 3873 h 9963"/>
                <a:gd name="connsiteX43" fmla="*/ 2523 w 9929"/>
                <a:gd name="connsiteY43" fmla="*/ 3648 h 9963"/>
                <a:gd name="connsiteX44" fmla="*/ 2080 w 9929"/>
                <a:gd name="connsiteY44" fmla="*/ 3272 h 9963"/>
                <a:gd name="connsiteX45" fmla="*/ 2220 w 9929"/>
                <a:gd name="connsiteY45" fmla="*/ 3045 h 9963"/>
                <a:gd name="connsiteX46" fmla="*/ 3412 w 9929"/>
                <a:gd name="connsiteY46" fmla="*/ 2895 h 9963"/>
                <a:gd name="connsiteX47" fmla="*/ 3577 w 9929"/>
                <a:gd name="connsiteY47" fmla="*/ 2519 h 9963"/>
                <a:gd name="connsiteX48" fmla="*/ 4276 w 9929"/>
                <a:gd name="connsiteY48" fmla="*/ 1579 h 9963"/>
                <a:gd name="connsiteX49" fmla="*/ 4930 w 9929"/>
                <a:gd name="connsiteY49" fmla="*/ 1242 h 9963"/>
                <a:gd name="connsiteX50" fmla="*/ 5467 w 9929"/>
                <a:gd name="connsiteY50" fmla="*/ 1090 h 9963"/>
                <a:gd name="connsiteX51" fmla="*/ 5655 w 9929"/>
                <a:gd name="connsiteY51" fmla="*/ 790 h 9963"/>
                <a:gd name="connsiteX52" fmla="*/ 5864 w 9929"/>
                <a:gd name="connsiteY52" fmla="*/ 866 h 9963"/>
                <a:gd name="connsiteX53" fmla="*/ 5864 w 9929"/>
                <a:gd name="connsiteY53" fmla="*/ 1203 h 9963"/>
                <a:gd name="connsiteX54" fmla="*/ 6144 w 9929"/>
                <a:gd name="connsiteY54" fmla="*/ 1354 h 9963"/>
                <a:gd name="connsiteX55" fmla="*/ 6379 w 9929"/>
                <a:gd name="connsiteY55" fmla="*/ 1090 h 9963"/>
                <a:gd name="connsiteX56" fmla="*/ 6542 w 9929"/>
                <a:gd name="connsiteY56" fmla="*/ 1279 h 9963"/>
                <a:gd name="connsiteX57" fmla="*/ 6635 w 9929"/>
                <a:gd name="connsiteY57" fmla="*/ 1579 h 9963"/>
                <a:gd name="connsiteX58" fmla="*/ 6822 w 9929"/>
                <a:gd name="connsiteY58" fmla="*/ 1693 h 9963"/>
                <a:gd name="connsiteX59" fmla="*/ 6940 w 9929"/>
                <a:gd name="connsiteY59" fmla="*/ 1429 h 9963"/>
                <a:gd name="connsiteX60" fmla="*/ 7128 w 9929"/>
                <a:gd name="connsiteY60" fmla="*/ 1504 h 9963"/>
                <a:gd name="connsiteX61" fmla="*/ 7243 w 9929"/>
                <a:gd name="connsiteY61" fmla="*/ 1693 h 9963"/>
                <a:gd name="connsiteX62" fmla="*/ 7921 w 9929"/>
                <a:gd name="connsiteY62" fmla="*/ 1767 h 9963"/>
                <a:gd name="connsiteX63" fmla="*/ 8669 w 9929"/>
                <a:gd name="connsiteY63" fmla="*/ 1166 h 9963"/>
                <a:gd name="connsiteX64" fmla="*/ 9182 w 9929"/>
                <a:gd name="connsiteY64" fmla="*/ 1242 h 9963"/>
                <a:gd name="connsiteX65" fmla="*/ 9860 w 9929"/>
                <a:gd name="connsiteY65" fmla="*/ 226 h 9963"/>
                <a:gd name="connsiteX66" fmla="*/ 9929 w 9929"/>
                <a:gd name="connsiteY66" fmla="*/ 0 h 9963"/>
                <a:gd name="connsiteX0" fmla="*/ 9931 w 9966"/>
                <a:gd name="connsiteY0" fmla="*/ 0 h 9773"/>
                <a:gd name="connsiteX1" fmla="*/ 9460 w 9966"/>
                <a:gd name="connsiteY1" fmla="*/ 7057 h 9773"/>
                <a:gd name="connsiteX2" fmla="*/ 8801 w 9966"/>
                <a:gd name="connsiteY2" fmla="*/ 6981 h 9773"/>
                <a:gd name="connsiteX3" fmla="*/ 8260 w 9966"/>
                <a:gd name="connsiteY3" fmla="*/ 7547 h 9773"/>
                <a:gd name="connsiteX4" fmla="*/ 7764 w 9966"/>
                <a:gd name="connsiteY4" fmla="*/ 7509 h 9773"/>
                <a:gd name="connsiteX5" fmla="*/ 7695 w 9966"/>
                <a:gd name="connsiteY5" fmla="*/ 7886 h 9773"/>
                <a:gd name="connsiteX6" fmla="*/ 7811 w 9966"/>
                <a:gd name="connsiteY6" fmla="*/ 8339 h 9773"/>
                <a:gd name="connsiteX7" fmla="*/ 7601 w 9966"/>
                <a:gd name="connsiteY7" fmla="*/ 8792 h 9773"/>
                <a:gd name="connsiteX8" fmla="*/ 7506 w 9966"/>
                <a:gd name="connsiteY8" fmla="*/ 9018 h 9773"/>
                <a:gd name="connsiteX9" fmla="*/ 7273 w 9966"/>
                <a:gd name="connsiteY9" fmla="*/ 9056 h 9773"/>
                <a:gd name="connsiteX10" fmla="*/ 7295 w 9966"/>
                <a:gd name="connsiteY10" fmla="*/ 8716 h 9773"/>
                <a:gd name="connsiteX11" fmla="*/ 7179 w 9966"/>
                <a:gd name="connsiteY11" fmla="*/ 8377 h 9773"/>
                <a:gd name="connsiteX12" fmla="*/ 7365 w 9966"/>
                <a:gd name="connsiteY12" fmla="*/ 7886 h 9773"/>
                <a:gd name="connsiteX13" fmla="*/ 7295 w 9966"/>
                <a:gd name="connsiteY13" fmla="*/ 7471 h 9773"/>
                <a:gd name="connsiteX14" fmla="*/ 6918 w 9966"/>
                <a:gd name="connsiteY14" fmla="*/ 8037 h 9773"/>
                <a:gd name="connsiteX15" fmla="*/ 6329 w 9966"/>
                <a:gd name="connsiteY15" fmla="*/ 7924 h 9773"/>
                <a:gd name="connsiteX16" fmla="*/ 5906 w 9966"/>
                <a:gd name="connsiteY16" fmla="*/ 8642 h 9773"/>
                <a:gd name="connsiteX17" fmla="*/ 5672 w 9966"/>
                <a:gd name="connsiteY17" fmla="*/ 8981 h 9773"/>
                <a:gd name="connsiteX18" fmla="*/ 5060 w 9966"/>
                <a:gd name="connsiteY18" fmla="*/ 9358 h 9773"/>
                <a:gd name="connsiteX19" fmla="*/ 4541 w 9966"/>
                <a:gd name="connsiteY19" fmla="*/ 8753 h 9773"/>
                <a:gd name="connsiteX20" fmla="*/ 3577 w 9966"/>
                <a:gd name="connsiteY20" fmla="*/ 8528 h 9773"/>
                <a:gd name="connsiteX21" fmla="*/ 3460 w 9966"/>
                <a:gd name="connsiteY21" fmla="*/ 9509 h 9773"/>
                <a:gd name="connsiteX22" fmla="*/ 3035 w 9966"/>
                <a:gd name="connsiteY22" fmla="*/ 9660 h 9773"/>
                <a:gd name="connsiteX23" fmla="*/ 2494 w 9966"/>
                <a:gd name="connsiteY23" fmla="*/ 9358 h 9773"/>
                <a:gd name="connsiteX24" fmla="*/ 2282 w 9966"/>
                <a:gd name="connsiteY24" fmla="*/ 9056 h 9773"/>
                <a:gd name="connsiteX25" fmla="*/ 1953 w 9966"/>
                <a:gd name="connsiteY25" fmla="*/ 9056 h 9773"/>
                <a:gd name="connsiteX26" fmla="*/ 1694 w 9966"/>
                <a:gd name="connsiteY26" fmla="*/ 9320 h 9773"/>
                <a:gd name="connsiteX27" fmla="*/ 1553 w 9966"/>
                <a:gd name="connsiteY27" fmla="*/ 8792 h 9773"/>
                <a:gd name="connsiteX28" fmla="*/ 1128 w 9966"/>
                <a:gd name="connsiteY28" fmla="*/ 8792 h 9773"/>
                <a:gd name="connsiteX29" fmla="*/ 1011 w 9966"/>
                <a:gd name="connsiteY29" fmla="*/ 7585 h 9773"/>
                <a:gd name="connsiteX30" fmla="*/ 353 w 9966"/>
                <a:gd name="connsiteY30" fmla="*/ 7208 h 9773"/>
                <a:gd name="connsiteX31" fmla="*/ 119 w 9966"/>
                <a:gd name="connsiteY31" fmla="*/ 7396 h 9773"/>
                <a:gd name="connsiteX32" fmla="*/ 94 w 9966"/>
                <a:gd name="connsiteY32" fmla="*/ 6754 h 9773"/>
                <a:gd name="connsiteX33" fmla="*/ 612 w 9966"/>
                <a:gd name="connsiteY33" fmla="*/ 6603 h 9773"/>
                <a:gd name="connsiteX34" fmla="*/ 706 w 9966"/>
                <a:gd name="connsiteY34" fmla="*/ 6037 h 9773"/>
                <a:gd name="connsiteX35" fmla="*/ 683 w 9966"/>
                <a:gd name="connsiteY35" fmla="*/ 5509 h 9773"/>
                <a:gd name="connsiteX36" fmla="*/ 164 w 9966"/>
                <a:gd name="connsiteY36" fmla="*/ 5586 h 9773"/>
                <a:gd name="connsiteX37" fmla="*/ 283 w 9966"/>
                <a:gd name="connsiteY37" fmla="*/ 4754 h 9773"/>
                <a:gd name="connsiteX38" fmla="*/ 589 w 9966"/>
                <a:gd name="connsiteY38" fmla="*/ 4301 h 9773"/>
                <a:gd name="connsiteX39" fmla="*/ 941 w 9966"/>
                <a:gd name="connsiteY39" fmla="*/ 4151 h 9773"/>
                <a:gd name="connsiteX40" fmla="*/ 1412 w 9966"/>
                <a:gd name="connsiteY40" fmla="*/ 4001 h 9773"/>
                <a:gd name="connsiteX41" fmla="*/ 2048 w 9966"/>
                <a:gd name="connsiteY41" fmla="*/ 4001 h 9773"/>
                <a:gd name="connsiteX42" fmla="*/ 2025 w 9966"/>
                <a:gd name="connsiteY42" fmla="*/ 3660 h 9773"/>
                <a:gd name="connsiteX43" fmla="*/ 2541 w 9966"/>
                <a:gd name="connsiteY43" fmla="*/ 3435 h 9773"/>
                <a:gd name="connsiteX44" fmla="*/ 2095 w 9966"/>
                <a:gd name="connsiteY44" fmla="*/ 3057 h 9773"/>
                <a:gd name="connsiteX45" fmla="*/ 2236 w 9966"/>
                <a:gd name="connsiteY45" fmla="*/ 2829 h 9773"/>
                <a:gd name="connsiteX46" fmla="*/ 3436 w 9966"/>
                <a:gd name="connsiteY46" fmla="*/ 2679 h 9773"/>
                <a:gd name="connsiteX47" fmla="*/ 3603 w 9966"/>
                <a:gd name="connsiteY47" fmla="*/ 2301 h 9773"/>
                <a:gd name="connsiteX48" fmla="*/ 4307 w 9966"/>
                <a:gd name="connsiteY48" fmla="*/ 1358 h 9773"/>
                <a:gd name="connsiteX49" fmla="*/ 4965 w 9966"/>
                <a:gd name="connsiteY49" fmla="*/ 1020 h 9773"/>
                <a:gd name="connsiteX50" fmla="*/ 5506 w 9966"/>
                <a:gd name="connsiteY50" fmla="*/ 867 h 9773"/>
                <a:gd name="connsiteX51" fmla="*/ 5695 w 9966"/>
                <a:gd name="connsiteY51" fmla="*/ 566 h 9773"/>
                <a:gd name="connsiteX52" fmla="*/ 5906 w 9966"/>
                <a:gd name="connsiteY52" fmla="*/ 642 h 9773"/>
                <a:gd name="connsiteX53" fmla="*/ 5906 w 9966"/>
                <a:gd name="connsiteY53" fmla="*/ 980 h 9773"/>
                <a:gd name="connsiteX54" fmla="*/ 6188 w 9966"/>
                <a:gd name="connsiteY54" fmla="*/ 1132 h 9773"/>
                <a:gd name="connsiteX55" fmla="*/ 6425 w 9966"/>
                <a:gd name="connsiteY55" fmla="*/ 867 h 9773"/>
                <a:gd name="connsiteX56" fmla="*/ 6589 w 9966"/>
                <a:gd name="connsiteY56" fmla="*/ 1057 h 9773"/>
                <a:gd name="connsiteX57" fmla="*/ 6682 w 9966"/>
                <a:gd name="connsiteY57" fmla="*/ 1358 h 9773"/>
                <a:gd name="connsiteX58" fmla="*/ 6871 w 9966"/>
                <a:gd name="connsiteY58" fmla="*/ 1472 h 9773"/>
                <a:gd name="connsiteX59" fmla="*/ 6990 w 9966"/>
                <a:gd name="connsiteY59" fmla="*/ 1207 h 9773"/>
                <a:gd name="connsiteX60" fmla="*/ 7179 w 9966"/>
                <a:gd name="connsiteY60" fmla="*/ 1283 h 9773"/>
                <a:gd name="connsiteX61" fmla="*/ 7295 w 9966"/>
                <a:gd name="connsiteY61" fmla="*/ 1472 h 9773"/>
                <a:gd name="connsiteX62" fmla="*/ 7978 w 9966"/>
                <a:gd name="connsiteY62" fmla="*/ 1547 h 9773"/>
                <a:gd name="connsiteX63" fmla="*/ 8731 w 9966"/>
                <a:gd name="connsiteY63" fmla="*/ 943 h 9773"/>
                <a:gd name="connsiteX64" fmla="*/ 9248 w 9966"/>
                <a:gd name="connsiteY64" fmla="*/ 1020 h 9773"/>
                <a:gd name="connsiteX65" fmla="*/ 9931 w 9966"/>
                <a:gd name="connsiteY65" fmla="*/ 0 h 9773"/>
                <a:gd name="connsiteX0" fmla="*/ 9280 w 9567"/>
                <a:gd name="connsiteY0" fmla="*/ 580 h 9536"/>
                <a:gd name="connsiteX1" fmla="*/ 9492 w 9567"/>
                <a:gd name="connsiteY1" fmla="*/ 6757 h 9536"/>
                <a:gd name="connsiteX2" fmla="*/ 8831 w 9567"/>
                <a:gd name="connsiteY2" fmla="*/ 6679 h 9536"/>
                <a:gd name="connsiteX3" fmla="*/ 8288 w 9567"/>
                <a:gd name="connsiteY3" fmla="*/ 7258 h 9536"/>
                <a:gd name="connsiteX4" fmla="*/ 7790 w 9567"/>
                <a:gd name="connsiteY4" fmla="*/ 7219 h 9536"/>
                <a:gd name="connsiteX5" fmla="*/ 7721 w 9567"/>
                <a:gd name="connsiteY5" fmla="*/ 7605 h 9536"/>
                <a:gd name="connsiteX6" fmla="*/ 7838 w 9567"/>
                <a:gd name="connsiteY6" fmla="*/ 8069 h 9536"/>
                <a:gd name="connsiteX7" fmla="*/ 7627 w 9567"/>
                <a:gd name="connsiteY7" fmla="*/ 8532 h 9536"/>
                <a:gd name="connsiteX8" fmla="*/ 7532 w 9567"/>
                <a:gd name="connsiteY8" fmla="*/ 8763 h 9536"/>
                <a:gd name="connsiteX9" fmla="*/ 7298 w 9567"/>
                <a:gd name="connsiteY9" fmla="*/ 8802 h 9536"/>
                <a:gd name="connsiteX10" fmla="*/ 7320 w 9567"/>
                <a:gd name="connsiteY10" fmla="*/ 8454 h 9536"/>
                <a:gd name="connsiteX11" fmla="*/ 7203 w 9567"/>
                <a:gd name="connsiteY11" fmla="*/ 8108 h 9536"/>
                <a:gd name="connsiteX12" fmla="*/ 7390 w 9567"/>
                <a:gd name="connsiteY12" fmla="*/ 7605 h 9536"/>
                <a:gd name="connsiteX13" fmla="*/ 7320 w 9567"/>
                <a:gd name="connsiteY13" fmla="*/ 7181 h 9536"/>
                <a:gd name="connsiteX14" fmla="*/ 6942 w 9567"/>
                <a:gd name="connsiteY14" fmla="*/ 7760 h 9536"/>
                <a:gd name="connsiteX15" fmla="*/ 6351 w 9567"/>
                <a:gd name="connsiteY15" fmla="*/ 7644 h 9536"/>
                <a:gd name="connsiteX16" fmla="*/ 5926 w 9567"/>
                <a:gd name="connsiteY16" fmla="*/ 8379 h 9536"/>
                <a:gd name="connsiteX17" fmla="*/ 5691 w 9567"/>
                <a:gd name="connsiteY17" fmla="*/ 8726 h 9536"/>
                <a:gd name="connsiteX18" fmla="*/ 5077 w 9567"/>
                <a:gd name="connsiteY18" fmla="*/ 9111 h 9536"/>
                <a:gd name="connsiteX19" fmla="*/ 4556 w 9567"/>
                <a:gd name="connsiteY19" fmla="*/ 8492 h 9536"/>
                <a:gd name="connsiteX20" fmla="*/ 3589 w 9567"/>
                <a:gd name="connsiteY20" fmla="*/ 8262 h 9536"/>
                <a:gd name="connsiteX21" fmla="*/ 3472 w 9567"/>
                <a:gd name="connsiteY21" fmla="*/ 9266 h 9536"/>
                <a:gd name="connsiteX22" fmla="*/ 3045 w 9567"/>
                <a:gd name="connsiteY22" fmla="*/ 9420 h 9536"/>
                <a:gd name="connsiteX23" fmla="*/ 2503 w 9567"/>
                <a:gd name="connsiteY23" fmla="*/ 9111 h 9536"/>
                <a:gd name="connsiteX24" fmla="*/ 2290 w 9567"/>
                <a:gd name="connsiteY24" fmla="*/ 8802 h 9536"/>
                <a:gd name="connsiteX25" fmla="*/ 1960 w 9567"/>
                <a:gd name="connsiteY25" fmla="*/ 8802 h 9536"/>
                <a:gd name="connsiteX26" fmla="*/ 1700 w 9567"/>
                <a:gd name="connsiteY26" fmla="*/ 9072 h 9536"/>
                <a:gd name="connsiteX27" fmla="*/ 1558 w 9567"/>
                <a:gd name="connsiteY27" fmla="*/ 8532 h 9536"/>
                <a:gd name="connsiteX28" fmla="*/ 1132 w 9567"/>
                <a:gd name="connsiteY28" fmla="*/ 8532 h 9536"/>
                <a:gd name="connsiteX29" fmla="*/ 1014 w 9567"/>
                <a:gd name="connsiteY29" fmla="*/ 7297 h 9536"/>
                <a:gd name="connsiteX30" fmla="*/ 354 w 9567"/>
                <a:gd name="connsiteY30" fmla="*/ 6911 h 9536"/>
                <a:gd name="connsiteX31" fmla="*/ 119 w 9567"/>
                <a:gd name="connsiteY31" fmla="*/ 7104 h 9536"/>
                <a:gd name="connsiteX32" fmla="*/ 94 w 9567"/>
                <a:gd name="connsiteY32" fmla="*/ 6447 h 9536"/>
                <a:gd name="connsiteX33" fmla="*/ 614 w 9567"/>
                <a:gd name="connsiteY33" fmla="*/ 6292 h 9536"/>
                <a:gd name="connsiteX34" fmla="*/ 708 w 9567"/>
                <a:gd name="connsiteY34" fmla="*/ 5713 h 9536"/>
                <a:gd name="connsiteX35" fmla="*/ 685 w 9567"/>
                <a:gd name="connsiteY35" fmla="*/ 5173 h 9536"/>
                <a:gd name="connsiteX36" fmla="*/ 165 w 9567"/>
                <a:gd name="connsiteY36" fmla="*/ 5252 h 9536"/>
                <a:gd name="connsiteX37" fmla="*/ 284 w 9567"/>
                <a:gd name="connsiteY37" fmla="*/ 4400 h 9536"/>
                <a:gd name="connsiteX38" fmla="*/ 591 w 9567"/>
                <a:gd name="connsiteY38" fmla="*/ 3937 h 9536"/>
                <a:gd name="connsiteX39" fmla="*/ 944 w 9567"/>
                <a:gd name="connsiteY39" fmla="*/ 3783 h 9536"/>
                <a:gd name="connsiteX40" fmla="*/ 1417 w 9567"/>
                <a:gd name="connsiteY40" fmla="*/ 3630 h 9536"/>
                <a:gd name="connsiteX41" fmla="*/ 2055 w 9567"/>
                <a:gd name="connsiteY41" fmla="*/ 3630 h 9536"/>
                <a:gd name="connsiteX42" fmla="*/ 2032 w 9567"/>
                <a:gd name="connsiteY42" fmla="*/ 3281 h 9536"/>
                <a:gd name="connsiteX43" fmla="*/ 2550 w 9567"/>
                <a:gd name="connsiteY43" fmla="*/ 3051 h 9536"/>
                <a:gd name="connsiteX44" fmla="*/ 2102 w 9567"/>
                <a:gd name="connsiteY44" fmla="*/ 2664 h 9536"/>
                <a:gd name="connsiteX45" fmla="*/ 2244 w 9567"/>
                <a:gd name="connsiteY45" fmla="*/ 2431 h 9536"/>
                <a:gd name="connsiteX46" fmla="*/ 3448 w 9567"/>
                <a:gd name="connsiteY46" fmla="*/ 2277 h 9536"/>
                <a:gd name="connsiteX47" fmla="*/ 3615 w 9567"/>
                <a:gd name="connsiteY47" fmla="*/ 1890 h 9536"/>
                <a:gd name="connsiteX48" fmla="*/ 4322 w 9567"/>
                <a:gd name="connsiteY48" fmla="*/ 926 h 9536"/>
                <a:gd name="connsiteX49" fmla="*/ 4982 w 9567"/>
                <a:gd name="connsiteY49" fmla="*/ 580 h 9536"/>
                <a:gd name="connsiteX50" fmla="*/ 5525 w 9567"/>
                <a:gd name="connsiteY50" fmla="*/ 423 h 9536"/>
                <a:gd name="connsiteX51" fmla="*/ 5714 w 9567"/>
                <a:gd name="connsiteY51" fmla="*/ 115 h 9536"/>
                <a:gd name="connsiteX52" fmla="*/ 5926 w 9567"/>
                <a:gd name="connsiteY52" fmla="*/ 193 h 9536"/>
                <a:gd name="connsiteX53" fmla="*/ 5926 w 9567"/>
                <a:gd name="connsiteY53" fmla="*/ 539 h 9536"/>
                <a:gd name="connsiteX54" fmla="*/ 6209 w 9567"/>
                <a:gd name="connsiteY54" fmla="*/ 694 h 9536"/>
                <a:gd name="connsiteX55" fmla="*/ 6447 w 9567"/>
                <a:gd name="connsiteY55" fmla="*/ 423 h 9536"/>
                <a:gd name="connsiteX56" fmla="*/ 6611 w 9567"/>
                <a:gd name="connsiteY56" fmla="*/ 618 h 9536"/>
                <a:gd name="connsiteX57" fmla="*/ 6705 w 9567"/>
                <a:gd name="connsiteY57" fmla="*/ 926 h 9536"/>
                <a:gd name="connsiteX58" fmla="*/ 6894 w 9567"/>
                <a:gd name="connsiteY58" fmla="*/ 1042 h 9536"/>
                <a:gd name="connsiteX59" fmla="*/ 7014 w 9567"/>
                <a:gd name="connsiteY59" fmla="*/ 771 h 9536"/>
                <a:gd name="connsiteX60" fmla="*/ 7203 w 9567"/>
                <a:gd name="connsiteY60" fmla="*/ 849 h 9536"/>
                <a:gd name="connsiteX61" fmla="*/ 7320 w 9567"/>
                <a:gd name="connsiteY61" fmla="*/ 1042 h 9536"/>
                <a:gd name="connsiteX62" fmla="*/ 8005 w 9567"/>
                <a:gd name="connsiteY62" fmla="*/ 1119 h 9536"/>
                <a:gd name="connsiteX63" fmla="*/ 8761 w 9567"/>
                <a:gd name="connsiteY63" fmla="*/ 501 h 9536"/>
                <a:gd name="connsiteX64" fmla="*/ 9280 w 9567"/>
                <a:gd name="connsiteY64" fmla="*/ 580 h 9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9567" h="9536">
                  <a:moveTo>
                    <a:pt x="9280" y="580"/>
                  </a:moveTo>
                  <a:cubicBezTo>
                    <a:pt x="9402" y="1623"/>
                    <a:pt x="9567" y="5741"/>
                    <a:pt x="9492" y="6757"/>
                  </a:cubicBezTo>
                  <a:cubicBezTo>
                    <a:pt x="9326" y="6833"/>
                    <a:pt x="8973" y="6525"/>
                    <a:pt x="8831" y="6679"/>
                  </a:cubicBezTo>
                  <a:cubicBezTo>
                    <a:pt x="8690" y="6795"/>
                    <a:pt x="8405" y="7258"/>
                    <a:pt x="8288" y="7258"/>
                  </a:cubicBezTo>
                  <a:cubicBezTo>
                    <a:pt x="8147" y="7258"/>
                    <a:pt x="7863" y="7143"/>
                    <a:pt x="7790" y="7219"/>
                  </a:cubicBezTo>
                  <a:cubicBezTo>
                    <a:pt x="7721" y="7297"/>
                    <a:pt x="7696" y="7528"/>
                    <a:pt x="7721" y="7605"/>
                  </a:cubicBezTo>
                  <a:cubicBezTo>
                    <a:pt x="7721" y="7644"/>
                    <a:pt x="7885" y="7952"/>
                    <a:pt x="7838" y="8069"/>
                  </a:cubicBezTo>
                  <a:cubicBezTo>
                    <a:pt x="7768" y="8184"/>
                    <a:pt x="7673" y="8301"/>
                    <a:pt x="7627" y="8532"/>
                  </a:cubicBezTo>
                  <a:cubicBezTo>
                    <a:pt x="7580" y="8802"/>
                    <a:pt x="7532" y="8649"/>
                    <a:pt x="7532" y="8763"/>
                  </a:cubicBezTo>
                  <a:cubicBezTo>
                    <a:pt x="7532" y="8879"/>
                    <a:pt x="7367" y="8879"/>
                    <a:pt x="7298" y="8802"/>
                  </a:cubicBezTo>
                  <a:cubicBezTo>
                    <a:pt x="7226" y="8726"/>
                    <a:pt x="7367" y="8532"/>
                    <a:pt x="7320" y="8454"/>
                  </a:cubicBezTo>
                  <a:cubicBezTo>
                    <a:pt x="7250" y="8339"/>
                    <a:pt x="7156" y="8184"/>
                    <a:pt x="7203" y="8108"/>
                  </a:cubicBezTo>
                  <a:cubicBezTo>
                    <a:pt x="7273" y="8031"/>
                    <a:pt x="7367" y="7760"/>
                    <a:pt x="7390" y="7605"/>
                  </a:cubicBezTo>
                  <a:cubicBezTo>
                    <a:pt x="7413" y="7411"/>
                    <a:pt x="7413" y="7219"/>
                    <a:pt x="7320" y="7181"/>
                  </a:cubicBezTo>
                  <a:cubicBezTo>
                    <a:pt x="7226" y="7104"/>
                    <a:pt x="7061" y="7721"/>
                    <a:pt x="6942" y="7760"/>
                  </a:cubicBezTo>
                  <a:cubicBezTo>
                    <a:pt x="6846" y="7799"/>
                    <a:pt x="6447" y="7528"/>
                    <a:pt x="6351" y="7644"/>
                  </a:cubicBezTo>
                  <a:cubicBezTo>
                    <a:pt x="6233" y="7760"/>
                    <a:pt x="5973" y="8262"/>
                    <a:pt x="5926" y="8379"/>
                  </a:cubicBezTo>
                  <a:cubicBezTo>
                    <a:pt x="5903" y="8492"/>
                    <a:pt x="5808" y="8571"/>
                    <a:pt x="5691" y="8726"/>
                  </a:cubicBezTo>
                  <a:cubicBezTo>
                    <a:pt x="5572" y="8879"/>
                    <a:pt x="5219" y="9188"/>
                    <a:pt x="5077" y="9111"/>
                  </a:cubicBezTo>
                  <a:cubicBezTo>
                    <a:pt x="4910" y="9034"/>
                    <a:pt x="4652" y="8571"/>
                    <a:pt x="4556" y="8492"/>
                  </a:cubicBezTo>
                  <a:cubicBezTo>
                    <a:pt x="4463" y="8454"/>
                    <a:pt x="3756" y="8145"/>
                    <a:pt x="3589" y="8262"/>
                  </a:cubicBezTo>
                  <a:cubicBezTo>
                    <a:pt x="3448" y="8379"/>
                    <a:pt x="3542" y="9111"/>
                    <a:pt x="3472" y="9266"/>
                  </a:cubicBezTo>
                  <a:cubicBezTo>
                    <a:pt x="3400" y="9420"/>
                    <a:pt x="3234" y="9343"/>
                    <a:pt x="3045" y="9420"/>
                  </a:cubicBezTo>
                  <a:cubicBezTo>
                    <a:pt x="2856" y="9536"/>
                    <a:pt x="2526" y="9343"/>
                    <a:pt x="2503" y="9111"/>
                  </a:cubicBezTo>
                  <a:cubicBezTo>
                    <a:pt x="2478" y="8879"/>
                    <a:pt x="2385" y="8879"/>
                    <a:pt x="2290" y="8802"/>
                  </a:cubicBezTo>
                  <a:cubicBezTo>
                    <a:pt x="2196" y="8763"/>
                    <a:pt x="2032" y="8649"/>
                    <a:pt x="1960" y="8802"/>
                  </a:cubicBezTo>
                  <a:cubicBezTo>
                    <a:pt x="1914" y="8918"/>
                    <a:pt x="1795" y="9266"/>
                    <a:pt x="1700" y="9072"/>
                  </a:cubicBezTo>
                  <a:cubicBezTo>
                    <a:pt x="1604" y="8879"/>
                    <a:pt x="1653" y="8532"/>
                    <a:pt x="1558" y="8532"/>
                  </a:cubicBezTo>
                  <a:cubicBezTo>
                    <a:pt x="1463" y="8532"/>
                    <a:pt x="1251" y="8726"/>
                    <a:pt x="1132" y="8532"/>
                  </a:cubicBezTo>
                  <a:cubicBezTo>
                    <a:pt x="1038" y="8379"/>
                    <a:pt x="1157" y="7411"/>
                    <a:pt x="1014" y="7297"/>
                  </a:cubicBezTo>
                  <a:cubicBezTo>
                    <a:pt x="873" y="7181"/>
                    <a:pt x="450" y="6872"/>
                    <a:pt x="354" y="6911"/>
                  </a:cubicBezTo>
                  <a:cubicBezTo>
                    <a:pt x="260" y="6949"/>
                    <a:pt x="213" y="7335"/>
                    <a:pt x="119" y="7104"/>
                  </a:cubicBezTo>
                  <a:cubicBezTo>
                    <a:pt x="0" y="6872"/>
                    <a:pt x="0" y="6525"/>
                    <a:pt x="94" y="6447"/>
                  </a:cubicBezTo>
                  <a:cubicBezTo>
                    <a:pt x="165" y="6371"/>
                    <a:pt x="544" y="6447"/>
                    <a:pt x="614" y="6292"/>
                  </a:cubicBezTo>
                  <a:cubicBezTo>
                    <a:pt x="685" y="6177"/>
                    <a:pt x="826" y="5906"/>
                    <a:pt x="708" y="5713"/>
                  </a:cubicBezTo>
                  <a:cubicBezTo>
                    <a:pt x="614" y="5520"/>
                    <a:pt x="804" y="5290"/>
                    <a:pt x="685" y="5173"/>
                  </a:cubicBezTo>
                  <a:cubicBezTo>
                    <a:pt x="567" y="5018"/>
                    <a:pt x="306" y="5366"/>
                    <a:pt x="165" y="5252"/>
                  </a:cubicBezTo>
                  <a:cubicBezTo>
                    <a:pt x="119" y="5211"/>
                    <a:pt x="213" y="4787"/>
                    <a:pt x="284" y="4400"/>
                  </a:cubicBezTo>
                  <a:cubicBezTo>
                    <a:pt x="306" y="4246"/>
                    <a:pt x="450" y="4054"/>
                    <a:pt x="591" y="3937"/>
                  </a:cubicBezTo>
                  <a:cubicBezTo>
                    <a:pt x="708" y="3860"/>
                    <a:pt x="826" y="3745"/>
                    <a:pt x="944" y="3783"/>
                  </a:cubicBezTo>
                  <a:cubicBezTo>
                    <a:pt x="1062" y="3821"/>
                    <a:pt x="1298" y="3706"/>
                    <a:pt x="1417" y="3630"/>
                  </a:cubicBezTo>
                  <a:cubicBezTo>
                    <a:pt x="1534" y="3550"/>
                    <a:pt x="1985" y="3706"/>
                    <a:pt x="2055" y="3630"/>
                  </a:cubicBezTo>
                  <a:cubicBezTo>
                    <a:pt x="2126" y="3512"/>
                    <a:pt x="1914" y="3359"/>
                    <a:pt x="2032" y="3281"/>
                  </a:cubicBezTo>
                  <a:cubicBezTo>
                    <a:pt x="2173" y="3164"/>
                    <a:pt x="2431" y="3203"/>
                    <a:pt x="2550" y="3051"/>
                  </a:cubicBezTo>
                  <a:cubicBezTo>
                    <a:pt x="2644" y="2895"/>
                    <a:pt x="2079" y="2817"/>
                    <a:pt x="2102" y="2664"/>
                  </a:cubicBezTo>
                  <a:cubicBezTo>
                    <a:pt x="2126" y="2511"/>
                    <a:pt x="2079" y="2431"/>
                    <a:pt x="2244" y="2431"/>
                  </a:cubicBezTo>
                  <a:cubicBezTo>
                    <a:pt x="2431" y="2431"/>
                    <a:pt x="3281" y="2431"/>
                    <a:pt x="3448" y="2277"/>
                  </a:cubicBezTo>
                  <a:cubicBezTo>
                    <a:pt x="3589" y="2124"/>
                    <a:pt x="3496" y="2007"/>
                    <a:pt x="3615" y="1890"/>
                  </a:cubicBezTo>
                  <a:cubicBezTo>
                    <a:pt x="3731" y="1776"/>
                    <a:pt x="4203" y="1003"/>
                    <a:pt x="4322" y="926"/>
                  </a:cubicBezTo>
                  <a:cubicBezTo>
                    <a:pt x="4463" y="809"/>
                    <a:pt x="4698" y="580"/>
                    <a:pt x="4982" y="580"/>
                  </a:cubicBezTo>
                  <a:cubicBezTo>
                    <a:pt x="5242" y="580"/>
                    <a:pt x="5455" y="463"/>
                    <a:pt x="5525" y="423"/>
                  </a:cubicBezTo>
                  <a:cubicBezTo>
                    <a:pt x="5596" y="347"/>
                    <a:pt x="5667" y="231"/>
                    <a:pt x="5714" y="115"/>
                  </a:cubicBezTo>
                  <a:cubicBezTo>
                    <a:pt x="5785" y="0"/>
                    <a:pt x="5855" y="193"/>
                    <a:pt x="5926" y="193"/>
                  </a:cubicBezTo>
                  <a:cubicBezTo>
                    <a:pt x="5973" y="193"/>
                    <a:pt x="5832" y="501"/>
                    <a:pt x="5926" y="539"/>
                  </a:cubicBezTo>
                  <a:cubicBezTo>
                    <a:pt x="6046" y="580"/>
                    <a:pt x="6115" y="694"/>
                    <a:pt x="6209" y="694"/>
                  </a:cubicBezTo>
                  <a:cubicBezTo>
                    <a:pt x="6328" y="656"/>
                    <a:pt x="6375" y="463"/>
                    <a:pt x="6447" y="423"/>
                  </a:cubicBezTo>
                  <a:cubicBezTo>
                    <a:pt x="6517" y="347"/>
                    <a:pt x="6611" y="501"/>
                    <a:pt x="6611" y="618"/>
                  </a:cubicBezTo>
                  <a:cubicBezTo>
                    <a:pt x="6611" y="733"/>
                    <a:pt x="6611" y="809"/>
                    <a:pt x="6705" y="926"/>
                  </a:cubicBezTo>
                  <a:cubicBezTo>
                    <a:pt x="6800" y="1080"/>
                    <a:pt x="6846" y="1119"/>
                    <a:pt x="6894" y="1042"/>
                  </a:cubicBezTo>
                  <a:cubicBezTo>
                    <a:pt x="6966" y="926"/>
                    <a:pt x="6942" y="771"/>
                    <a:pt x="7014" y="771"/>
                  </a:cubicBezTo>
                  <a:cubicBezTo>
                    <a:pt x="7083" y="771"/>
                    <a:pt x="7156" y="694"/>
                    <a:pt x="7203" y="849"/>
                  </a:cubicBezTo>
                  <a:cubicBezTo>
                    <a:pt x="7273" y="964"/>
                    <a:pt x="7226" y="1042"/>
                    <a:pt x="7320" y="1042"/>
                  </a:cubicBezTo>
                  <a:cubicBezTo>
                    <a:pt x="7413" y="1042"/>
                    <a:pt x="7815" y="1197"/>
                    <a:pt x="8005" y="1119"/>
                  </a:cubicBezTo>
                  <a:cubicBezTo>
                    <a:pt x="8194" y="1003"/>
                    <a:pt x="8594" y="501"/>
                    <a:pt x="8761" y="501"/>
                  </a:cubicBezTo>
                  <a:cubicBezTo>
                    <a:pt x="8902" y="501"/>
                    <a:pt x="9113" y="694"/>
                    <a:pt x="9280" y="58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53" name="Freeform 26"/>
            <p:cNvSpPr>
              <a:spLocks/>
            </p:cNvSpPr>
            <p:nvPr/>
          </p:nvSpPr>
          <p:spPr bwMode="auto">
            <a:xfrm>
              <a:off x="1795078" y="3301262"/>
              <a:ext cx="1515588" cy="626875"/>
            </a:xfrm>
            <a:custGeom>
              <a:avLst/>
              <a:gdLst>
                <a:gd name="T0" fmla="*/ 2147483647 w 483"/>
                <a:gd name="T1" fmla="*/ 2147483647 h 246"/>
                <a:gd name="T2" fmla="*/ 2147483647 w 483"/>
                <a:gd name="T3" fmla="*/ 2147483647 h 246"/>
                <a:gd name="T4" fmla="*/ 2147483647 w 483"/>
                <a:gd name="T5" fmla="*/ 2147483647 h 246"/>
                <a:gd name="T6" fmla="*/ 2147483647 w 483"/>
                <a:gd name="T7" fmla="*/ 2147483647 h 246"/>
                <a:gd name="T8" fmla="*/ 2147483647 w 483"/>
                <a:gd name="T9" fmla="*/ 2147483647 h 246"/>
                <a:gd name="T10" fmla="*/ 2147483647 w 483"/>
                <a:gd name="T11" fmla="*/ 2147483647 h 246"/>
                <a:gd name="T12" fmla="*/ 2147483647 w 483"/>
                <a:gd name="T13" fmla="*/ 2147483647 h 246"/>
                <a:gd name="T14" fmla="*/ 2147483647 w 483"/>
                <a:gd name="T15" fmla="*/ 0 h 246"/>
                <a:gd name="T16" fmla="*/ 2147483647 w 483"/>
                <a:gd name="T17" fmla="*/ 2147483647 h 246"/>
                <a:gd name="T18" fmla="*/ 2147483647 w 483"/>
                <a:gd name="T19" fmla="*/ 2147483647 h 246"/>
                <a:gd name="T20" fmla="*/ 2147483647 w 483"/>
                <a:gd name="T21" fmla="*/ 2147483647 h 246"/>
                <a:gd name="T22" fmla="*/ 2147483647 w 483"/>
                <a:gd name="T23" fmla="*/ 2147483647 h 246"/>
                <a:gd name="T24" fmla="*/ 2147483647 w 483"/>
                <a:gd name="T25" fmla="*/ 2147483647 h 246"/>
                <a:gd name="T26" fmla="*/ 2147483647 w 483"/>
                <a:gd name="T27" fmla="*/ 2147483647 h 246"/>
                <a:gd name="T28" fmla="*/ 2147483647 w 483"/>
                <a:gd name="T29" fmla="*/ 2147483647 h 246"/>
                <a:gd name="T30" fmla="*/ 2147483647 w 483"/>
                <a:gd name="T31" fmla="*/ 2147483647 h 246"/>
                <a:gd name="T32" fmla="*/ 2147483647 w 483"/>
                <a:gd name="T33" fmla="*/ 2147483647 h 246"/>
                <a:gd name="T34" fmla="*/ 2147483647 w 483"/>
                <a:gd name="T35" fmla="*/ 2147483647 h 246"/>
                <a:gd name="T36" fmla="*/ 2147483647 w 483"/>
                <a:gd name="T37" fmla="*/ 2147483647 h 246"/>
                <a:gd name="T38" fmla="*/ 2147483647 w 483"/>
                <a:gd name="T39" fmla="*/ 2147483647 h 246"/>
                <a:gd name="T40" fmla="*/ 2147483647 w 483"/>
                <a:gd name="T41" fmla="*/ 2147483647 h 246"/>
                <a:gd name="T42" fmla="*/ 2147483647 w 483"/>
                <a:gd name="T43" fmla="*/ 2147483647 h 246"/>
                <a:gd name="T44" fmla="*/ 2147483647 w 483"/>
                <a:gd name="T45" fmla="*/ 2147483647 h 246"/>
                <a:gd name="T46" fmla="*/ 2147483647 w 483"/>
                <a:gd name="T47" fmla="*/ 2147483647 h 246"/>
                <a:gd name="T48" fmla="*/ 2147483647 w 483"/>
                <a:gd name="T49" fmla="*/ 2147483647 h 246"/>
                <a:gd name="T50" fmla="*/ 2147483647 w 483"/>
                <a:gd name="T51" fmla="*/ 2147483647 h 246"/>
                <a:gd name="T52" fmla="*/ 2147483647 w 483"/>
                <a:gd name="T53" fmla="*/ 2147483647 h 246"/>
                <a:gd name="T54" fmla="*/ 2147483647 w 483"/>
                <a:gd name="T55" fmla="*/ 2147483647 h 246"/>
                <a:gd name="T56" fmla="*/ 2147483647 w 483"/>
                <a:gd name="T57" fmla="*/ 2147483647 h 246"/>
                <a:gd name="T58" fmla="*/ 2147483647 w 483"/>
                <a:gd name="T59" fmla="*/ 2147483647 h 246"/>
                <a:gd name="T60" fmla="*/ 2147483647 w 483"/>
                <a:gd name="T61" fmla="*/ 2147483647 h 246"/>
                <a:gd name="T62" fmla="*/ 2147483647 w 483"/>
                <a:gd name="T63" fmla="*/ 2147483647 h 246"/>
                <a:gd name="T64" fmla="*/ 2147483647 w 483"/>
                <a:gd name="T65" fmla="*/ 2147483647 h 246"/>
                <a:gd name="T66" fmla="*/ 2147483647 w 483"/>
                <a:gd name="T67" fmla="*/ 2147483647 h 246"/>
                <a:gd name="T68" fmla="*/ 2147483647 w 483"/>
                <a:gd name="T69" fmla="*/ 2147483647 h 246"/>
                <a:gd name="T70" fmla="*/ 2147483647 w 483"/>
                <a:gd name="T71" fmla="*/ 2147483647 h 246"/>
                <a:gd name="T72" fmla="*/ 2147483647 w 483"/>
                <a:gd name="T73" fmla="*/ 2147483647 h 246"/>
                <a:gd name="T74" fmla="*/ 2147483647 w 483"/>
                <a:gd name="T75" fmla="*/ 2147483647 h 246"/>
                <a:gd name="T76" fmla="*/ 2147483647 w 483"/>
                <a:gd name="T77" fmla="*/ 2147483647 h 246"/>
                <a:gd name="T78" fmla="*/ 2147483647 w 483"/>
                <a:gd name="T79" fmla="*/ 2147483647 h 246"/>
                <a:gd name="T80" fmla="*/ 2147483647 w 483"/>
                <a:gd name="T81" fmla="*/ 2147483647 h 246"/>
                <a:gd name="T82" fmla="*/ 2147483647 w 483"/>
                <a:gd name="T83" fmla="*/ 2147483647 h 246"/>
                <a:gd name="T84" fmla="*/ 2147483647 w 483"/>
                <a:gd name="T85" fmla="*/ 2147483647 h 246"/>
                <a:gd name="T86" fmla="*/ 2147483647 w 483"/>
                <a:gd name="T87" fmla="*/ 2147483647 h 246"/>
                <a:gd name="T88" fmla="*/ 2147483647 w 483"/>
                <a:gd name="T89" fmla="*/ 2147483647 h 246"/>
                <a:gd name="T90" fmla="*/ 2147483647 w 483"/>
                <a:gd name="T91" fmla="*/ 2147483647 h 246"/>
                <a:gd name="T92" fmla="*/ 2147483647 w 483"/>
                <a:gd name="T93" fmla="*/ 2147483647 h 24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83"/>
                <a:gd name="T142" fmla="*/ 0 h 246"/>
                <a:gd name="T143" fmla="*/ 483 w 483"/>
                <a:gd name="T144" fmla="*/ 246 h 24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83" h="246">
                  <a:moveTo>
                    <a:pt x="444" y="121"/>
                  </a:moveTo>
                  <a:lnTo>
                    <a:pt x="475" y="121"/>
                  </a:lnTo>
                  <a:lnTo>
                    <a:pt x="476" y="114"/>
                  </a:lnTo>
                  <a:lnTo>
                    <a:pt x="483" y="114"/>
                  </a:lnTo>
                  <a:lnTo>
                    <a:pt x="483" y="86"/>
                  </a:lnTo>
                  <a:lnTo>
                    <a:pt x="470" y="74"/>
                  </a:lnTo>
                  <a:lnTo>
                    <a:pt x="471" y="62"/>
                  </a:lnTo>
                  <a:lnTo>
                    <a:pt x="464" y="49"/>
                  </a:lnTo>
                  <a:lnTo>
                    <a:pt x="462" y="36"/>
                  </a:lnTo>
                  <a:lnTo>
                    <a:pt x="458" y="26"/>
                  </a:lnTo>
                  <a:lnTo>
                    <a:pt x="446" y="17"/>
                  </a:lnTo>
                  <a:lnTo>
                    <a:pt x="419" y="21"/>
                  </a:lnTo>
                  <a:lnTo>
                    <a:pt x="404" y="17"/>
                  </a:lnTo>
                  <a:lnTo>
                    <a:pt x="393" y="8"/>
                  </a:lnTo>
                  <a:lnTo>
                    <a:pt x="373" y="0"/>
                  </a:lnTo>
                  <a:lnTo>
                    <a:pt x="357" y="0"/>
                  </a:lnTo>
                  <a:lnTo>
                    <a:pt x="346" y="6"/>
                  </a:lnTo>
                  <a:lnTo>
                    <a:pt x="336" y="20"/>
                  </a:lnTo>
                  <a:lnTo>
                    <a:pt x="328" y="33"/>
                  </a:lnTo>
                  <a:lnTo>
                    <a:pt x="312" y="38"/>
                  </a:lnTo>
                  <a:lnTo>
                    <a:pt x="297" y="36"/>
                  </a:lnTo>
                  <a:lnTo>
                    <a:pt x="283" y="31"/>
                  </a:lnTo>
                  <a:lnTo>
                    <a:pt x="271" y="27"/>
                  </a:lnTo>
                  <a:lnTo>
                    <a:pt x="264" y="24"/>
                  </a:lnTo>
                  <a:lnTo>
                    <a:pt x="263" y="36"/>
                  </a:lnTo>
                  <a:lnTo>
                    <a:pt x="254" y="38"/>
                  </a:lnTo>
                  <a:lnTo>
                    <a:pt x="251" y="45"/>
                  </a:lnTo>
                  <a:lnTo>
                    <a:pt x="243" y="48"/>
                  </a:lnTo>
                  <a:lnTo>
                    <a:pt x="241" y="54"/>
                  </a:lnTo>
                  <a:lnTo>
                    <a:pt x="240" y="63"/>
                  </a:lnTo>
                  <a:lnTo>
                    <a:pt x="233" y="67"/>
                  </a:lnTo>
                  <a:lnTo>
                    <a:pt x="224" y="68"/>
                  </a:lnTo>
                  <a:lnTo>
                    <a:pt x="217" y="71"/>
                  </a:lnTo>
                  <a:lnTo>
                    <a:pt x="209" y="77"/>
                  </a:lnTo>
                  <a:lnTo>
                    <a:pt x="206" y="96"/>
                  </a:lnTo>
                  <a:lnTo>
                    <a:pt x="212" y="118"/>
                  </a:lnTo>
                  <a:lnTo>
                    <a:pt x="216" y="124"/>
                  </a:lnTo>
                  <a:lnTo>
                    <a:pt x="212" y="136"/>
                  </a:lnTo>
                  <a:lnTo>
                    <a:pt x="203" y="138"/>
                  </a:lnTo>
                  <a:lnTo>
                    <a:pt x="198" y="127"/>
                  </a:lnTo>
                  <a:lnTo>
                    <a:pt x="176" y="125"/>
                  </a:lnTo>
                  <a:lnTo>
                    <a:pt x="170" y="120"/>
                  </a:lnTo>
                  <a:lnTo>
                    <a:pt x="169" y="127"/>
                  </a:lnTo>
                  <a:lnTo>
                    <a:pt x="144" y="130"/>
                  </a:lnTo>
                  <a:lnTo>
                    <a:pt x="128" y="127"/>
                  </a:lnTo>
                  <a:lnTo>
                    <a:pt x="125" y="135"/>
                  </a:lnTo>
                  <a:lnTo>
                    <a:pt x="117" y="135"/>
                  </a:lnTo>
                  <a:lnTo>
                    <a:pt x="107" y="140"/>
                  </a:lnTo>
                  <a:lnTo>
                    <a:pt x="105" y="146"/>
                  </a:lnTo>
                  <a:lnTo>
                    <a:pt x="87" y="146"/>
                  </a:lnTo>
                  <a:lnTo>
                    <a:pt x="80" y="138"/>
                  </a:lnTo>
                  <a:lnTo>
                    <a:pt x="73" y="134"/>
                  </a:lnTo>
                  <a:lnTo>
                    <a:pt x="58" y="134"/>
                  </a:lnTo>
                  <a:lnTo>
                    <a:pt x="53" y="139"/>
                  </a:lnTo>
                  <a:lnTo>
                    <a:pt x="46" y="145"/>
                  </a:lnTo>
                  <a:lnTo>
                    <a:pt x="39" y="151"/>
                  </a:lnTo>
                  <a:lnTo>
                    <a:pt x="24" y="135"/>
                  </a:lnTo>
                  <a:lnTo>
                    <a:pt x="15" y="131"/>
                  </a:lnTo>
                  <a:lnTo>
                    <a:pt x="0" y="133"/>
                  </a:lnTo>
                  <a:lnTo>
                    <a:pt x="2" y="153"/>
                  </a:lnTo>
                  <a:lnTo>
                    <a:pt x="1" y="170"/>
                  </a:lnTo>
                  <a:lnTo>
                    <a:pt x="8" y="181"/>
                  </a:lnTo>
                  <a:lnTo>
                    <a:pt x="10" y="187"/>
                  </a:lnTo>
                  <a:lnTo>
                    <a:pt x="15" y="188"/>
                  </a:lnTo>
                  <a:lnTo>
                    <a:pt x="22" y="188"/>
                  </a:lnTo>
                  <a:lnTo>
                    <a:pt x="27" y="196"/>
                  </a:lnTo>
                  <a:lnTo>
                    <a:pt x="37" y="190"/>
                  </a:lnTo>
                  <a:lnTo>
                    <a:pt x="49" y="195"/>
                  </a:lnTo>
                  <a:lnTo>
                    <a:pt x="69" y="201"/>
                  </a:lnTo>
                  <a:lnTo>
                    <a:pt x="80" y="202"/>
                  </a:lnTo>
                  <a:lnTo>
                    <a:pt x="101" y="195"/>
                  </a:lnTo>
                  <a:lnTo>
                    <a:pt x="124" y="190"/>
                  </a:lnTo>
                  <a:lnTo>
                    <a:pt x="140" y="188"/>
                  </a:lnTo>
                  <a:lnTo>
                    <a:pt x="153" y="182"/>
                  </a:lnTo>
                  <a:lnTo>
                    <a:pt x="159" y="194"/>
                  </a:lnTo>
                  <a:lnTo>
                    <a:pt x="166" y="206"/>
                  </a:lnTo>
                  <a:lnTo>
                    <a:pt x="174" y="215"/>
                  </a:lnTo>
                  <a:lnTo>
                    <a:pt x="192" y="227"/>
                  </a:lnTo>
                  <a:lnTo>
                    <a:pt x="201" y="227"/>
                  </a:lnTo>
                  <a:lnTo>
                    <a:pt x="235" y="230"/>
                  </a:lnTo>
                  <a:lnTo>
                    <a:pt x="255" y="238"/>
                  </a:lnTo>
                  <a:lnTo>
                    <a:pt x="288" y="241"/>
                  </a:lnTo>
                  <a:lnTo>
                    <a:pt x="319" y="246"/>
                  </a:lnTo>
                  <a:lnTo>
                    <a:pt x="333" y="224"/>
                  </a:lnTo>
                  <a:lnTo>
                    <a:pt x="374" y="225"/>
                  </a:lnTo>
                  <a:lnTo>
                    <a:pt x="387" y="217"/>
                  </a:lnTo>
                  <a:lnTo>
                    <a:pt x="403" y="220"/>
                  </a:lnTo>
                  <a:lnTo>
                    <a:pt x="416" y="205"/>
                  </a:lnTo>
                  <a:lnTo>
                    <a:pt x="429" y="189"/>
                  </a:lnTo>
                  <a:lnTo>
                    <a:pt x="440" y="184"/>
                  </a:lnTo>
                  <a:lnTo>
                    <a:pt x="440" y="158"/>
                  </a:lnTo>
                  <a:lnTo>
                    <a:pt x="446" y="152"/>
                  </a:lnTo>
                  <a:lnTo>
                    <a:pt x="446" y="144"/>
                  </a:lnTo>
                  <a:lnTo>
                    <a:pt x="441" y="130"/>
                  </a:lnTo>
                  <a:lnTo>
                    <a:pt x="444" y="12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97629" tIns="48813" rIns="97629" bIns="48813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900" kern="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</p:grpSp>
      <p:sp>
        <p:nvSpPr>
          <p:cNvPr id="154" name="Freihandform 153"/>
          <p:cNvSpPr/>
          <p:nvPr/>
        </p:nvSpPr>
        <p:spPr bwMode="auto">
          <a:xfrm>
            <a:off x="4584769" y="4552950"/>
            <a:ext cx="447286" cy="363385"/>
          </a:xfrm>
          <a:custGeom>
            <a:avLst/>
            <a:gdLst>
              <a:gd name="connsiteX0" fmla="*/ 25331 w 447286"/>
              <a:gd name="connsiteY0" fmla="*/ 0 h 363385"/>
              <a:gd name="connsiteX1" fmla="*/ 44381 w 447286"/>
              <a:gd name="connsiteY1" fmla="*/ 95250 h 363385"/>
              <a:gd name="connsiteX2" fmla="*/ 434906 w 447286"/>
              <a:gd name="connsiteY2" fmla="*/ 114300 h 363385"/>
              <a:gd name="connsiteX3" fmla="*/ 330131 w 447286"/>
              <a:gd name="connsiteY3" fmla="*/ 190500 h 363385"/>
              <a:gd name="connsiteX4" fmla="*/ 130106 w 447286"/>
              <a:gd name="connsiteY4" fmla="*/ 219075 h 363385"/>
              <a:gd name="connsiteX5" fmla="*/ 92006 w 447286"/>
              <a:gd name="connsiteY5" fmla="*/ 342900 h 363385"/>
              <a:gd name="connsiteX6" fmla="*/ 234881 w 447286"/>
              <a:gd name="connsiteY6" fmla="*/ 361950 h 363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286" h="363385">
                <a:moveTo>
                  <a:pt x="25331" y="0"/>
                </a:moveTo>
                <a:cubicBezTo>
                  <a:pt x="725" y="38100"/>
                  <a:pt x="-23881" y="76200"/>
                  <a:pt x="44381" y="95250"/>
                </a:cubicBezTo>
                <a:cubicBezTo>
                  <a:pt x="112643" y="114300"/>
                  <a:pt x="387281" y="98425"/>
                  <a:pt x="434906" y="114300"/>
                </a:cubicBezTo>
                <a:cubicBezTo>
                  <a:pt x="482531" y="130175"/>
                  <a:pt x="380931" y="173038"/>
                  <a:pt x="330131" y="190500"/>
                </a:cubicBezTo>
                <a:cubicBezTo>
                  <a:pt x="279331" y="207962"/>
                  <a:pt x="169794" y="193675"/>
                  <a:pt x="130106" y="219075"/>
                </a:cubicBezTo>
                <a:cubicBezTo>
                  <a:pt x="90419" y="244475"/>
                  <a:pt x="74544" y="319088"/>
                  <a:pt x="92006" y="342900"/>
                </a:cubicBezTo>
                <a:cubicBezTo>
                  <a:pt x="109468" y="366712"/>
                  <a:pt x="172174" y="364331"/>
                  <a:pt x="234881" y="36195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5" name="Freihandform 154"/>
          <p:cNvSpPr/>
          <p:nvPr/>
        </p:nvSpPr>
        <p:spPr bwMode="auto">
          <a:xfrm>
            <a:off x="2819401" y="3870305"/>
            <a:ext cx="274080" cy="45719"/>
          </a:xfrm>
          <a:custGeom>
            <a:avLst/>
            <a:gdLst>
              <a:gd name="connsiteX0" fmla="*/ 371475 w 371475"/>
              <a:gd name="connsiteY0" fmla="*/ 0 h 28575"/>
              <a:gd name="connsiteX1" fmla="*/ 142875 w 371475"/>
              <a:gd name="connsiteY1" fmla="*/ 28575 h 28575"/>
              <a:gd name="connsiteX2" fmla="*/ 0 w 371475"/>
              <a:gd name="connsiteY2" fmla="*/ 0 h 28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1475" h="28575">
                <a:moveTo>
                  <a:pt x="371475" y="0"/>
                </a:moveTo>
                <a:cubicBezTo>
                  <a:pt x="288131" y="14287"/>
                  <a:pt x="204787" y="28575"/>
                  <a:pt x="142875" y="28575"/>
                </a:cubicBezTo>
                <a:cubicBezTo>
                  <a:pt x="80963" y="28575"/>
                  <a:pt x="28575" y="4762"/>
                  <a:pt x="0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6" name="Freihandform 155"/>
          <p:cNvSpPr/>
          <p:nvPr/>
        </p:nvSpPr>
        <p:spPr bwMode="auto">
          <a:xfrm>
            <a:off x="3019425" y="3895574"/>
            <a:ext cx="193663" cy="276376"/>
          </a:xfrm>
          <a:custGeom>
            <a:avLst/>
            <a:gdLst>
              <a:gd name="connsiteX0" fmla="*/ 152400 w 152400"/>
              <a:gd name="connsiteY0" fmla="*/ 0 h 285750"/>
              <a:gd name="connsiteX1" fmla="*/ 85725 w 152400"/>
              <a:gd name="connsiteY1" fmla="*/ 142875 h 285750"/>
              <a:gd name="connsiteX2" fmla="*/ 0 w 152400"/>
              <a:gd name="connsiteY2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00" h="285750">
                <a:moveTo>
                  <a:pt x="152400" y="0"/>
                </a:moveTo>
                <a:cubicBezTo>
                  <a:pt x="131762" y="47625"/>
                  <a:pt x="111125" y="95250"/>
                  <a:pt x="85725" y="142875"/>
                </a:cubicBezTo>
                <a:cubicBezTo>
                  <a:pt x="60325" y="190500"/>
                  <a:pt x="0" y="285750"/>
                  <a:pt x="0" y="28575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 dirty="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7" name="Freihandform 156"/>
          <p:cNvSpPr/>
          <p:nvPr/>
        </p:nvSpPr>
        <p:spPr bwMode="auto">
          <a:xfrm>
            <a:off x="2667000" y="4191000"/>
            <a:ext cx="342900" cy="28737"/>
          </a:xfrm>
          <a:custGeom>
            <a:avLst/>
            <a:gdLst>
              <a:gd name="connsiteX0" fmla="*/ 342900 w 342900"/>
              <a:gd name="connsiteY0" fmla="*/ 0 h 28737"/>
              <a:gd name="connsiteX1" fmla="*/ 247650 w 342900"/>
              <a:gd name="connsiteY1" fmla="*/ 28575 h 28737"/>
              <a:gd name="connsiteX2" fmla="*/ 0 w 342900"/>
              <a:gd name="connsiteY2" fmla="*/ 9525 h 2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900" h="28737">
                <a:moveTo>
                  <a:pt x="342900" y="0"/>
                </a:moveTo>
                <a:cubicBezTo>
                  <a:pt x="323850" y="13494"/>
                  <a:pt x="304800" y="26988"/>
                  <a:pt x="247650" y="28575"/>
                </a:cubicBezTo>
                <a:cubicBezTo>
                  <a:pt x="190500" y="30163"/>
                  <a:pt x="95250" y="19844"/>
                  <a:pt x="0" y="9525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 dirty="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8" name="Freihandform 157"/>
          <p:cNvSpPr/>
          <p:nvPr/>
        </p:nvSpPr>
        <p:spPr bwMode="auto">
          <a:xfrm>
            <a:off x="2527300" y="4216400"/>
            <a:ext cx="222250" cy="177809"/>
          </a:xfrm>
          <a:custGeom>
            <a:avLst/>
            <a:gdLst>
              <a:gd name="connsiteX0" fmla="*/ 222250 w 222250"/>
              <a:gd name="connsiteY0" fmla="*/ 0 h 177809"/>
              <a:gd name="connsiteX1" fmla="*/ 139700 w 222250"/>
              <a:gd name="connsiteY1" fmla="*/ 57150 h 177809"/>
              <a:gd name="connsiteX2" fmla="*/ 82550 w 222250"/>
              <a:gd name="connsiteY2" fmla="*/ 158750 h 177809"/>
              <a:gd name="connsiteX3" fmla="*/ 0 w 222250"/>
              <a:gd name="connsiteY3" fmla="*/ 177800 h 17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2250" h="177809">
                <a:moveTo>
                  <a:pt x="222250" y="0"/>
                </a:moveTo>
                <a:cubicBezTo>
                  <a:pt x="192616" y="15346"/>
                  <a:pt x="162983" y="30692"/>
                  <a:pt x="139700" y="57150"/>
                </a:cubicBezTo>
                <a:cubicBezTo>
                  <a:pt x="116417" y="83608"/>
                  <a:pt x="105833" y="138642"/>
                  <a:pt x="82550" y="158750"/>
                </a:cubicBezTo>
                <a:cubicBezTo>
                  <a:pt x="59267" y="178858"/>
                  <a:pt x="0" y="177800"/>
                  <a:pt x="0" y="17780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9" name="Freihandform 158"/>
          <p:cNvSpPr/>
          <p:nvPr/>
        </p:nvSpPr>
        <p:spPr bwMode="auto">
          <a:xfrm>
            <a:off x="2806700" y="3340100"/>
            <a:ext cx="260350" cy="222250"/>
          </a:xfrm>
          <a:custGeom>
            <a:avLst/>
            <a:gdLst>
              <a:gd name="connsiteX0" fmla="*/ 0 w 260350"/>
              <a:gd name="connsiteY0" fmla="*/ 222250 h 222250"/>
              <a:gd name="connsiteX1" fmla="*/ 50800 w 260350"/>
              <a:gd name="connsiteY1" fmla="*/ 152400 h 222250"/>
              <a:gd name="connsiteX2" fmla="*/ 260350 w 260350"/>
              <a:gd name="connsiteY2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0350" h="222250">
                <a:moveTo>
                  <a:pt x="0" y="222250"/>
                </a:moveTo>
                <a:cubicBezTo>
                  <a:pt x="3704" y="205846"/>
                  <a:pt x="7408" y="189442"/>
                  <a:pt x="50800" y="152400"/>
                </a:cubicBezTo>
                <a:cubicBezTo>
                  <a:pt x="94192" y="115358"/>
                  <a:pt x="177271" y="57679"/>
                  <a:pt x="260350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0" name="Freihandform 159"/>
          <p:cNvSpPr/>
          <p:nvPr/>
        </p:nvSpPr>
        <p:spPr bwMode="auto">
          <a:xfrm>
            <a:off x="2813049" y="3521054"/>
            <a:ext cx="400039" cy="380386"/>
          </a:xfrm>
          <a:custGeom>
            <a:avLst/>
            <a:gdLst>
              <a:gd name="connsiteX0" fmla="*/ 0 w 266700"/>
              <a:gd name="connsiteY0" fmla="*/ 9546 h 333396"/>
              <a:gd name="connsiteX1" fmla="*/ 82550 w 266700"/>
              <a:gd name="connsiteY1" fmla="*/ 3196 h 333396"/>
              <a:gd name="connsiteX2" fmla="*/ 158750 w 266700"/>
              <a:gd name="connsiteY2" fmla="*/ 53996 h 333396"/>
              <a:gd name="connsiteX3" fmla="*/ 209550 w 266700"/>
              <a:gd name="connsiteY3" fmla="*/ 155596 h 333396"/>
              <a:gd name="connsiteX4" fmla="*/ 247650 w 266700"/>
              <a:gd name="connsiteY4" fmla="*/ 244496 h 333396"/>
              <a:gd name="connsiteX5" fmla="*/ 266700 w 266700"/>
              <a:gd name="connsiteY5" fmla="*/ 333396 h 333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6700" h="333396">
                <a:moveTo>
                  <a:pt x="0" y="9546"/>
                </a:moveTo>
                <a:cubicBezTo>
                  <a:pt x="28046" y="2667"/>
                  <a:pt x="56092" y="-4212"/>
                  <a:pt x="82550" y="3196"/>
                </a:cubicBezTo>
                <a:cubicBezTo>
                  <a:pt x="109008" y="10604"/>
                  <a:pt x="137583" y="28596"/>
                  <a:pt x="158750" y="53996"/>
                </a:cubicBezTo>
                <a:cubicBezTo>
                  <a:pt x="179917" y="79396"/>
                  <a:pt x="194733" y="123846"/>
                  <a:pt x="209550" y="155596"/>
                </a:cubicBezTo>
                <a:cubicBezTo>
                  <a:pt x="224367" y="187346"/>
                  <a:pt x="238125" y="214863"/>
                  <a:pt x="247650" y="244496"/>
                </a:cubicBezTo>
                <a:cubicBezTo>
                  <a:pt x="257175" y="274129"/>
                  <a:pt x="261937" y="303762"/>
                  <a:pt x="266700" y="333396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1" name="Freihandform 160"/>
          <p:cNvSpPr/>
          <p:nvPr/>
        </p:nvSpPr>
        <p:spPr bwMode="auto">
          <a:xfrm>
            <a:off x="4826000" y="4921250"/>
            <a:ext cx="234950" cy="184150"/>
          </a:xfrm>
          <a:custGeom>
            <a:avLst/>
            <a:gdLst>
              <a:gd name="connsiteX0" fmla="*/ 0 w 234950"/>
              <a:gd name="connsiteY0" fmla="*/ 0 h 184150"/>
              <a:gd name="connsiteX1" fmla="*/ 158750 w 234950"/>
              <a:gd name="connsiteY1" fmla="*/ 50800 h 184150"/>
              <a:gd name="connsiteX2" fmla="*/ 234950 w 234950"/>
              <a:gd name="connsiteY2" fmla="*/ 184150 h 184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4950" h="184150">
                <a:moveTo>
                  <a:pt x="0" y="0"/>
                </a:moveTo>
                <a:cubicBezTo>
                  <a:pt x="59796" y="10054"/>
                  <a:pt x="119592" y="20108"/>
                  <a:pt x="158750" y="50800"/>
                </a:cubicBezTo>
                <a:cubicBezTo>
                  <a:pt x="197908" y="81492"/>
                  <a:pt x="216429" y="132821"/>
                  <a:pt x="234950" y="184150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2" name="Freihandform 161"/>
          <p:cNvSpPr/>
          <p:nvPr/>
        </p:nvSpPr>
        <p:spPr bwMode="auto">
          <a:xfrm>
            <a:off x="5029200" y="5010150"/>
            <a:ext cx="139700" cy="25400"/>
          </a:xfrm>
          <a:custGeom>
            <a:avLst/>
            <a:gdLst>
              <a:gd name="connsiteX0" fmla="*/ 0 w 139700"/>
              <a:gd name="connsiteY0" fmla="*/ 0 h 25400"/>
              <a:gd name="connsiteX1" fmla="*/ 139700 w 139700"/>
              <a:gd name="connsiteY1" fmla="*/ 25400 h 2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9700" h="25400">
                <a:moveTo>
                  <a:pt x="0" y="0"/>
                </a:moveTo>
                <a:cubicBezTo>
                  <a:pt x="46567" y="8467"/>
                  <a:pt x="116417" y="19050"/>
                  <a:pt x="139700" y="25400"/>
                </a:cubicBez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3" name="Freihandform 162"/>
          <p:cNvSpPr/>
          <p:nvPr/>
        </p:nvSpPr>
        <p:spPr bwMode="auto">
          <a:xfrm>
            <a:off x="2280691" y="3637815"/>
            <a:ext cx="655408" cy="163852"/>
          </a:xfrm>
          <a:custGeom>
            <a:avLst/>
            <a:gdLst>
              <a:gd name="connsiteX0" fmla="*/ 655408 w 655408"/>
              <a:gd name="connsiteY0" fmla="*/ 163852 h 163852"/>
              <a:gd name="connsiteX1" fmla="*/ 528555 w 655408"/>
              <a:gd name="connsiteY1" fmla="*/ 100425 h 163852"/>
              <a:gd name="connsiteX2" fmla="*/ 465128 w 655408"/>
              <a:gd name="connsiteY2" fmla="*/ 95140 h 163852"/>
              <a:gd name="connsiteX3" fmla="*/ 206136 w 655408"/>
              <a:gd name="connsiteY3" fmla="*/ 100425 h 163852"/>
              <a:gd name="connsiteX4" fmla="*/ 0 w 655408"/>
              <a:gd name="connsiteY4" fmla="*/ 0 h 163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408" h="163852">
                <a:moveTo>
                  <a:pt x="655408" y="163852"/>
                </a:moveTo>
                <a:cubicBezTo>
                  <a:pt x="607838" y="137864"/>
                  <a:pt x="560268" y="111877"/>
                  <a:pt x="528555" y="100425"/>
                </a:cubicBezTo>
                <a:cubicBezTo>
                  <a:pt x="496842" y="88973"/>
                  <a:pt x="518864" y="95140"/>
                  <a:pt x="465128" y="95140"/>
                </a:cubicBezTo>
                <a:cubicBezTo>
                  <a:pt x="411392" y="95140"/>
                  <a:pt x="283657" y="116282"/>
                  <a:pt x="206136" y="100425"/>
                </a:cubicBezTo>
                <a:cubicBezTo>
                  <a:pt x="128615" y="84568"/>
                  <a:pt x="36118" y="16737"/>
                  <a:pt x="0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4" name="Ellipse 163"/>
          <p:cNvSpPr/>
          <p:nvPr/>
        </p:nvSpPr>
        <p:spPr bwMode="auto">
          <a:xfrm>
            <a:off x="3064814" y="3304292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5" name="Ellipse 164"/>
          <p:cNvSpPr/>
          <p:nvPr/>
        </p:nvSpPr>
        <p:spPr bwMode="auto">
          <a:xfrm>
            <a:off x="2260790" y="3593547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6" name="Ellipse 165"/>
          <p:cNvSpPr/>
          <p:nvPr/>
        </p:nvSpPr>
        <p:spPr bwMode="auto">
          <a:xfrm>
            <a:off x="2487477" y="4361869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7" name="Freihandform 166"/>
          <p:cNvSpPr/>
          <p:nvPr/>
        </p:nvSpPr>
        <p:spPr bwMode="auto">
          <a:xfrm>
            <a:off x="2938765" y="4217868"/>
            <a:ext cx="338275" cy="60304"/>
          </a:xfrm>
          <a:custGeom>
            <a:avLst/>
            <a:gdLst>
              <a:gd name="connsiteX0" fmla="*/ 0 w 338275"/>
              <a:gd name="connsiteY0" fmla="*/ 0 h 60304"/>
              <a:gd name="connsiteX1" fmla="*/ 142710 w 338275"/>
              <a:gd name="connsiteY1" fmla="*/ 58141 h 60304"/>
              <a:gd name="connsiteX2" fmla="*/ 338275 w 338275"/>
              <a:gd name="connsiteY2" fmla="*/ 42285 h 60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8275" h="60304">
                <a:moveTo>
                  <a:pt x="0" y="0"/>
                </a:moveTo>
                <a:cubicBezTo>
                  <a:pt x="43165" y="25547"/>
                  <a:pt x="86331" y="51094"/>
                  <a:pt x="142710" y="58141"/>
                </a:cubicBezTo>
                <a:cubicBezTo>
                  <a:pt x="199089" y="65188"/>
                  <a:pt x="268682" y="53736"/>
                  <a:pt x="338275" y="42285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8" name="Ellipse 167"/>
          <p:cNvSpPr/>
          <p:nvPr/>
        </p:nvSpPr>
        <p:spPr bwMode="auto">
          <a:xfrm>
            <a:off x="5086683" y="4323815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69" name="Ellipse 168"/>
          <p:cNvSpPr/>
          <p:nvPr/>
        </p:nvSpPr>
        <p:spPr bwMode="auto">
          <a:xfrm>
            <a:off x="4787387" y="488891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0" name="Ellipse 169"/>
          <p:cNvSpPr/>
          <p:nvPr/>
        </p:nvSpPr>
        <p:spPr bwMode="auto">
          <a:xfrm>
            <a:off x="4643640" y="4205368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1" name="Ellipse 170"/>
          <p:cNvSpPr/>
          <p:nvPr/>
        </p:nvSpPr>
        <p:spPr bwMode="auto">
          <a:xfrm>
            <a:off x="4114276" y="4023956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2" name="Freihandform 171"/>
          <p:cNvSpPr/>
          <p:nvPr/>
        </p:nvSpPr>
        <p:spPr bwMode="auto">
          <a:xfrm>
            <a:off x="2975764" y="3086761"/>
            <a:ext cx="120072" cy="221993"/>
          </a:xfrm>
          <a:custGeom>
            <a:avLst/>
            <a:gdLst>
              <a:gd name="connsiteX0" fmla="*/ 116282 w 120072"/>
              <a:gd name="connsiteY0" fmla="*/ 221993 h 221993"/>
              <a:gd name="connsiteX1" fmla="*/ 105711 w 120072"/>
              <a:gd name="connsiteY1" fmla="*/ 137424 h 221993"/>
              <a:gd name="connsiteX2" fmla="*/ 0 w 120072"/>
              <a:gd name="connsiteY2" fmla="*/ 0 h 221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72" h="221993">
                <a:moveTo>
                  <a:pt x="116282" y="221993"/>
                </a:moveTo>
                <a:cubicBezTo>
                  <a:pt x="120686" y="198208"/>
                  <a:pt x="125091" y="174423"/>
                  <a:pt x="105711" y="137424"/>
                </a:cubicBezTo>
                <a:cubicBezTo>
                  <a:pt x="86331" y="100425"/>
                  <a:pt x="14976" y="19380"/>
                  <a:pt x="0" y="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3" name="Freihandform 172"/>
          <p:cNvSpPr/>
          <p:nvPr/>
        </p:nvSpPr>
        <p:spPr bwMode="auto">
          <a:xfrm flipH="1">
            <a:off x="3111574" y="3070844"/>
            <a:ext cx="101515" cy="244641"/>
          </a:xfrm>
          <a:custGeom>
            <a:avLst/>
            <a:gdLst>
              <a:gd name="connsiteX0" fmla="*/ 116282 w 120072"/>
              <a:gd name="connsiteY0" fmla="*/ 221993 h 221993"/>
              <a:gd name="connsiteX1" fmla="*/ 105711 w 120072"/>
              <a:gd name="connsiteY1" fmla="*/ 137424 h 221993"/>
              <a:gd name="connsiteX2" fmla="*/ 0 w 120072"/>
              <a:gd name="connsiteY2" fmla="*/ 0 h 221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0072" h="221993">
                <a:moveTo>
                  <a:pt x="116282" y="221993"/>
                </a:moveTo>
                <a:cubicBezTo>
                  <a:pt x="120686" y="198208"/>
                  <a:pt x="125091" y="174423"/>
                  <a:pt x="105711" y="137424"/>
                </a:cubicBezTo>
                <a:cubicBezTo>
                  <a:pt x="86331" y="100425"/>
                  <a:pt x="14976" y="19380"/>
                  <a:pt x="0" y="0"/>
                </a:cubicBezTo>
              </a:path>
            </a:pathLst>
          </a:custGeom>
          <a:noFill/>
          <a:ln w="6350" cap="flat" cmpd="sng" algn="ctr">
            <a:solidFill>
              <a:schemeClr val="tx1"/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4" name="Textfeld 173"/>
          <p:cNvSpPr txBox="1"/>
          <p:nvPr/>
        </p:nvSpPr>
        <p:spPr>
          <a:xfrm>
            <a:off x="2241307" y="3532374"/>
            <a:ext cx="47938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Passau</a:t>
            </a:r>
            <a:endParaRPr lang="de-AT" sz="600" b="1" dirty="0"/>
          </a:p>
        </p:txBody>
      </p:sp>
      <p:sp>
        <p:nvSpPr>
          <p:cNvPr id="175" name="Ellipse 174"/>
          <p:cNvSpPr/>
          <p:nvPr/>
        </p:nvSpPr>
        <p:spPr bwMode="auto">
          <a:xfrm>
            <a:off x="1370187" y="3252955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6" name="Textfeld 175"/>
          <p:cNvSpPr txBox="1"/>
          <p:nvPr/>
        </p:nvSpPr>
        <p:spPr>
          <a:xfrm>
            <a:off x="1257723" y="2882762"/>
            <a:ext cx="51858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Duisburg</a:t>
            </a:r>
            <a:endParaRPr lang="de-AT" sz="600" b="1" dirty="0"/>
          </a:p>
        </p:txBody>
      </p:sp>
      <p:sp>
        <p:nvSpPr>
          <p:cNvPr id="177" name="Textfeld 176"/>
          <p:cNvSpPr txBox="1"/>
          <p:nvPr/>
        </p:nvSpPr>
        <p:spPr>
          <a:xfrm>
            <a:off x="3107902" y="3204043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Chalupki</a:t>
            </a:r>
            <a:endParaRPr lang="de-AT" sz="600" b="1" dirty="0"/>
          </a:p>
        </p:txBody>
      </p:sp>
      <p:sp>
        <p:nvSpPr>
          <p:cNvPr id="178" name="Textfeld 177"/>
          <p:cNvSpPr txBox="1"/>
          <p:nvPr/>
        </p:nvSpPr>
        <p:spPr>
          <a:xfrm>
            <a:off x="2249166" y="4388495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Rijeka</a:t>
            </a:r>
            <a:endParaRPr lang="de-AT" sz="600" b="1" dirty="0"/>
          </a:p>
        </p:txBody>
      </p:sp>
      <p:sp>
        <p:nvSpPr>
          <p:cNvPr id="179" name="Textfeld 178"/>
          <p:cNvSpPr txBox="1"/>
          <p:nvPr/>
        </p:nvSpPr>
        <p:spPr>
          <a:xfrm>
            <a:off x="3976396" y="3852724"/>
            <a:ext cx="6466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Vintu</a:t>
            </a:r>
            <a:r>
              <a:rPr lang="de-AT" sz="600" b="1" dirty="0" smtClean="0"/>
              <a:t> </a:t>
            </a:r>
            <a:r>
              <a:rPr lang="de-AT" sz="600" b="1" dirty="0"/>
              <a:t>de</a:t>
            </a:r>
            <a:r>
              <a:rPr lang="de-AT" sz="600" b="1" dirty="0" smtClean="0"/>
              <a:t> Jos</a:t>
            </a:r>
            <a:endParaRPr lang="de-AT" sz="600" b="1" dirty="0"/>
          </a:p>
        </p:txBody>
      </p:sp>
      <p:sp>
        <p:nvSpPr>
          <p:cNvPr id="180" name="Textfeld 179"/>
          <p:cNvSpPr txBox="1"/>
          <p:nvPr/>
        </p:nvSpPr>
        <p:spPr>
          <a:xfrm>
            <a:off x="4261040" y="4240509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Ploiesti</a:t>
            </a:r>
            <a:endParaRPr lang="de-AT" sz="600" b="1" dirty="0" smtClean="0"/>
          </a:p>
        </p:txBody>
      </p:sp>
      <p:sp>
        <p:nvSpPr>
          <p:cNvPr id="181" name="Ellipse 180"/>
          <p:cNvSpPr/>
          <p:nvPr/>
        </p:nvSpPr>
        <p:spPr bwMode="auto">
          <a:xfrm>
            <a:off x="4669952" y="430299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2" name="Textfeld 181"/>
          <p:cNvSpPr txBox="1"/>
          <p:nvPr/>
        </p:nvSpPr>
        <p:spPr>
          <a:xfrm>
            <a:off x="4649200" y="4122438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Brazi</a:t>
            </a:r>
            <a:endParaRPr lang="de-AT" sz="600" b="1" dirty="0" smtClean="0"/>
          </a:p>
        </p:txBody>
      </p:sp>
      <p:sp>
        <p:nvSpPr>
          <p:cNvPr id="183" name="Textfeld 182"/>
          <p:cNvSpPr txBox="1"/>
          <p:nvPr/>
        </p:nvSpPr>
        <p:spPr>
          <a:xfrm>
            <a:off x="5080188" y="4295290"/>
            <a:ext cx="6146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Constanza</a:t>
            </a:r>
          </a:p>
        </p:txBody>
      </p:sp>
      <p:sp>
        <p:nvSpPr>
          <p:cNvPr id="184" name="Textfeld 183"/>
          <p:cNvSpPr txBox="1"/>
          <p:nvPr/>
        </p:nvSpPr>
        <p:spPr>
          <a:xfrm>
            <a:off x="4836595" y="4772563"/>
            <a:ext cx="6146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Kapikule</a:t>
            </a:r>
            <a:endParaRPr lang="de-AT" sz="600" b="1" dirty="0" smtClean="0"/>
          </a:p>
        </p:txBody>
      </p:sp>
      <p:sp>
        <p:nvSpPr>
          <p:cNvPr id="185" name="Ellipse 184"/>
          <p:cNvSpPr/>
          <p:nvPr/>
        </p:nvSpPr>
        <p:spPr bwMode="auto">
          <a:xfrm>
            <a:off x="3680352" y="399297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86" name="Textfeld 185"/>
          <p:cNvSpPr txBox="1"/>
          <p:nvPr/>
        </p:nvSpPr>
        <p:spPr>
          <a:xfrm>
            <a:off x="3676214" y="3849615"/>
            <a:ext cx="6466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Curtici</a:t>
            </a:r>
            <a:endParaRPr lang="de-AT" sz="600" b="1" dirty="0" smtClean="0"/>
          </a:p>
          <a:p>
            <a:r>
              <a:rPr lang="de-AT" sz="600" b="1" dirty="0" smtClean="0"/>
              <a:t>RPA</a:t>
            </a:r>
            <a:endParaRPr lang="de-AT" sz="600" b="1" dirty="0"/>
          </a:p>
        </p:txBody>
      </p:sp>
      <p:grpSp>
        <p:nvGrpSpPr>
          <p:cNvPr id="187" name="Gruppieren 186"/>
          <p:cNvGrpSpPr/>
          <p:nvPr/>
        </p:nvGrpSpPr>
        <p:grpSpPr>
          <a:xfrm>
            <a:off x="632775" y="5362479"/>
            <a:ext cx="2217193" cy="389653"/>
            <a:chOff x="5476213" y="3639422"/>
            <a:chExt cx="2217193" cy="389653"/>
          </a:xfrm>
        </p:grpSpPr>
        <p:cxnSp>
          <p:nvCxnSpPr>
            <p:cNvPr id="188" name="Gerade Verbindung 187"/>
            <p:cNvCxnSpPr/>
            <p:nvPr/>
          </p:nvCxnSpPr>
          <p:spPr bwMode="auto">
            <a:xfrm>
              <a:off x="5556679" y="3723133"/>
              <a:ext cx="14400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9" name="Gerade Verbindung 188"/>
            <p:cNvCxnSpPr/>
            <p:nvPr/>
          </p:nvCxnSpPr>
          <p:spPr bwMode="auto">
            <a:xfrm>
              <a:off x="5563994" y="3826714"/>
              <a:ext cx="14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0" name="Gerade Verbindung 189"/>
            <p:cNvCxnSpPr/>
            <p:nvPr/>
          </p:nvCxnSpPr>
          <p:spPr bwMode="auto">
            <a:xfrm>
              <a:off x="5549673" y="3921846"/>
              <a:ext cx="1440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1" name="Textfeld 190"/>
            <p:cNvSpPr txBox="1"/>
            <p:nvPr/>
          </p:nvSpPr>
          <p:spPr>
            <a:xfrm>
              <a:off x="5647614" y="3639422"/>
              <a:ext cx="20457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AT" sz="600" dirty="0" err="1"/>
                <a:t>a</a:t>
              </a:r>
              <a:r>
                <a:rPr lang="de-AT" sz="600" dirty="0" err="1" smtClean="0"/>
                <a:t>ctual</a:t>
              </a:r>
              <a:r>
                <a:rPr lang="de-AT" sz="600" dirty="0" smtClean="0"/>
                <a:t> </a:t>
              </a:r>
              <a:r>
                <a:rPr lang="de-AT" sz="600" dirty="0" err="1" smtClean="0"/>
                <a:t>traffic</a:t>
              </a:r>
              <a:r>
                <a:rPr lang="de-AT" sz="600" dirty="0" smtClean="0"/>
                <a:t> </a:t>
              </a:r>
              <a:r>
                <a:rPr lang="de-AT" sz="600" dirty="0" err="1" smtClean="0"/>
                <a:t>flows</a:t>
              </a:r>
              <a:endParaRPr lang="de-AT" sz="600" dirty="0" smtClean="0"/>
            </a:p>
            <a:p>
              <a:r>
                <a:rPr lang="de-AT" sz="600" dirty="0" err="1" smtClean="0"/>
                <a:t>Planned</a:t>
              </a:r>
              <a:r>
                <a:rPr lang="de-AT" sz="600" dirty="0" smtClean="0"/>
                <a:t> </a:t>
              </a:r>
              <a:r>
                <a:rPr lang="de-AT" sz="600" dirty="0" err="1" smtClean="0"/>
                <a:t>traffic</a:t>
              </a:r>
              <a:r>
                <a:rPr lang="de-AT" sz="600" dirty="0" smtClean="0"/>
                <a:t> </a:t>
              </a:r>
              <a:r>
                <a:rPr lang="de-AT" sz="600" dirty="0" err="1" smtClean="0"/>
                <a:t>flows</a:t>
              </a:r>
              <a:endParaRPr lang="de-AT" sz="600" dirty="0" smtClean="0"/>
            </a:p>
            <a:p>
              <a:r>
                <a:rPr lang="de-AT" sz="600" dirty="0" err="1"/>
                <a:t>t</a:t>
              </a:r>
              <a:r>
                <a:rPr lang="de-AT" sz="600" dirty="0" err="1" smtClean="0"/>
                <a:t>hird</a:t>
              </a:r>
              <a:r>
                <a:rPr lang="de-AT" sz="600" dirty="0" smtClean="0"/>
                <a:t> </a:t>
              </a:r>
              <a:r>
                <a:rPr lang="de-AT" sz="600" dirty="0" err="1" smtClean="0"/>
                <a:t>party</a:t>
              </a:r>
              <a:r>
                <a:rPr lang="de-AT" sz="600" dirty="0" smtClean="0"/>
                <a:t> RU (e.g.: DB, </a:t>
              </a:r>
              <a:r>
                <a:rPr lang="de-AT" sz="600" dirty="0" err="1" smtClean="0"/>
                <a:t>Lotos,PKP</a:t>
              </a:r>
              <a:r>
                <a:rPr lang="de-AT" sz="600" dirty="0" smtClean="0"/>
                <a:t>, TCDD)</a:t>
              </a:r>
              <a:endParaRPr lang="de-AT" sz="600" dirty="0"/>
            </a:p>
          </p:txBody>
        </p:sp>
        <p:sp>
          <p:nvSpPr>
            <p:cNvPr id="192" name="Rechteck 191"/>
            <p:cNvSpPr/>
            <p:nvPr/>
          </p:nvSpPr>
          <p:spPr bwMode="auto">
            <a:xfrm>
              <a:off x="5476213" y="3654153"/>
              <a:ext cx="1797675" cy="374922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AT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  <a:cs typeface="ＭＳ Ｐゴシック" charset="-128"/>
              </a:endParaRPr>
            </a:p>
          </p:txBody>
        </p:sp>
      </p:grpSp>
      <p:sp>
        <p:nvSpPr>
          <p:cNvPr id="193" name="Freihandform 192"/>
          <p:cNvSpPr/>
          <p:nvPr/>
        </p:nvSpPr>
        <p:spPr bwMode="auto">
          <a:xfrm>
            <a:off x="2754724" y="3740667"/>
            <a:ext cx="74201" cy="145534"/>
          </a:xfrm>
          <a:custGeom>
            <a:avLst/>
            <a:gdLst>
              <a:gd name="connsiteX0" fmla="*/ 104775 w 104775"/>
              <a:gd name="connsiteY0" fmla="*/ 9525 h 9525"/>
              <a:gd name="connsiteX1" fmla="*/ 0 w 104775"/>
              <a:gd name="connsiteY1" fmla="*/ 0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75" h="9525">
                <a:moveTo>
                  <a:pt x="104775" y="9525"/>
                </a:moveTo>
                <a:cubicBezTo>
                  <a:pt x="63500" y="4762"/>
                  <a:pt x="22225" y="0"/>
                  <a:pt x="0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4" name="Ellipse 193"/>
          <p:cNvSpPr/>
          <p:nvPr/>
        </p:nvSpPr>
        <p:spPr bwMode="auto">
          <a:xfrm>
            <a:off x="3184423" y="3841788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5" name="Textfeld 194"/>
          <p:cNvSpPr txBox="1"/>
          <p:nvPr/>
        </p:nvSpPr>
        <p:spPr>
          <a:xfrm>
            <a:off x="3164544" y="3872984"/>
            <a:ext cx="37358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Bilk</a:t>
            </a:r>
            <a:endParaRPr lang="de-AT" sz="600" b="1" dirty="0"/>
          </a:p>
        </p:txBody>
      </p:sp>
      <p:sp>
        <p:nvSpPr>
          <p:cNvPr id="196" name="Freihandform 195"/>
          <p:cNvSpPr/>
          <p:nvPr/>
        </p:nvSpPr>
        <p:spPr bwMode="auto">
          <a:xfrm>
            <a:off x="3733800" y="4042410"/>
            <a:ext cx="885574" cy="518160"/>
          </a:xfrm>
          <a:custGeom>
            <a:avLst/>
            <a:gdLst>
              <a:gd name="connsiteX0" fmla="*/ 0 w 862497"/>
              <a:gd name="connsiteY0" fmla="*/ 0 h 518160"/>
              <a:gd name="connsiteX1" fmla="*/ 68580 w 862497"/>
              <a:gd name="connsiteY1" fmla="*/ 87630 h 518160"/>
              <a:gd name="connsiteX2" fmla="*/ 274320 w 862497"/>
              <a:gd name="connsiteY2" fmla="*/ 106680 h 518160"/>
              <a:gd name="connsiteX3" fmla="*/ 426720 w 862497"/>
              <a:gd name="connsiteY3" fmla="*/ 426720 h 518160"/>
              <a:gd name="connsiteX4" fmla="*/ 819150 w 862497"/>
              <a:gd name="connsiteY4" fmla="*/ 468630 h 518160"/>
              <a:gd name="connsiteX5" fmla="*/ 857250 w 862497"/>
              <a:gd name="connsiteY5" fmla="*/ 518160 h 51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2497" h="518160">
                <a:moveTo>
                  <a:pt x="0" y="0"/>
                </a:moveTo>
                <a:cubicBezTo>
                  <a:pt x="11430" y="34925"/>
                  <a:pt x="22860" y="69850"/>
                  <a:pt x="68580" y="87630"/>
                </a:cubicBezTo>
                <a:cubicBezTo>
                  <a:pt x="114300" y="105410"/>
                  <a:pt x="214630" y="50165"/>
                  <a:pt x="274320" y="106680"/>
                </a:cubicBezTo>
                <a:cubicBezTo>
                  <a:pt x="334010" y="163195"/>
                  <a:pt x="335915" y="366395"/>
                  <a:pt x="426720" y="426720"/>
                </a:cubicBezTo>
                <a:cubicBezTo>
                  <a:pt x="517525" y="487045"/>
                  <a:pt x="747395" y="453390"/>
                  <a:pt x="819150" y="468630"/>
                </a:cubicBezTo>
                <a:cubicBezTo>
                  <a:pt x="890905" y="483870"/>
                  <a:pt x="850265" y="510540"/>
                  <a:pt x="857250" y="51816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7" name="Freihandform 196"/>
          <p:cNvSpPr/>
          <p:nvPr/>
        </p:nvSpPr>
        <p:spPr bwMode="auto">
          <a:xfrm>
            <a:off x="4703197" y="4333380"/>
            <a:ext cx="397565" cy="23935"/>
          </a:xfrm>
          <a:custGeom>
            <a:avLst/>
            <a:gdLst>
              <a:gd name="connsiteX0" fmla="*/ 0 w 397565"/>
              <a:gd name="connsiteY0" fmla="*/ 12008 h 23935"/>
              <a:gd name="connsiteX1" fmla="*/ 143123 w 397565"/>
              <a:gd name="connsiteY1" fmla="*/ 15983 h 23935"/>
              <a:gd name="connsiteX2" fmla="*/ 258417 w 397565"/>
              <a:gd name="connsiteY2" fmla="*/ 81 h 23935"/>
              <a:gd name="connsiteX3" fmla="*/ 397565 w 397565"/>
              <a:gd name="connsiteY3" fmla="*/ 23935 h 239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565" h="23935">
                <a:moveTo>
                  <a:pt x="0" y="12008"/>
                </a:moveTo>
                <a:cubicBezTo>
                  <a:pt x="50027" y="14989"/>
                  <a:pt x="100054" y="17971"/>
                  <a:pt x="143123" y="15983"/>
                </a:cubicBezTo>
                <a:cubicBezTo>
                  <a:pt x="186192" y="13995"/>
                  <a:pt x="216010" y="-1244"/>
                  <a:pt x="258417" y="81"/>
                </a:cubicBezTo>
                <a:cubicBezTo>
                  <a:pt x="300824" y="1406"/>
                  <a:pt x="397565" y="23935"/>
                  <a:pt x="397565" y="23935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8" name="Freihandform 197"/>
          <p:cNvSpPr/>
          <p:nvPr/>
        </p:nvSpPr>
        <p:spPr bwMode="auto">
          <a:xfrm>
            <a:off x="2933446" y="3799126"/>
            <a:ext cx="794342" cy="214685"/>
          </a:xfrm>
          <a:custGeom>
            <a:avLst/>
            <a:gdLst>
              <a:gd name="connsiteX0" fmla="*/ 759349 w 763473"/>
              <a:gd name="connsiteY0" fmla="*/ 214685 h 214685"/>
              <a:gd name="connsiteX1" fmla="*/ 719593 w 763473"/>
              <a:gd name="connsiteY1" fmla="*/ 103367 h 214685"/>
              <a:gd name="connsiteX2" fmla="*/ 445273 w 763473"/>
              <a:gd name="connsiteY2" fmla="*/ 63610 h 214685"/>
              <a:gd name="connsiteX3" fmla="*/ 214685 w 763473"/>
              <a:gd name="connsiteY3" fmla="*/ 75537 h 214685"/>
              <a:gd name="connsiteX4" fmla="*/ 67586 w 763473"/>
              <a:gd name="connsiteY4" fmla="*/ 63610 h 214685"/>
              <a:gd name="connsiteX5" fmla="*/ 0 w 763473"/>
              <a:gd name="connsiteY5" fmla="*/ 0 h 214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3473" h="214685">
                <a:moveTo>
                  <a:pt x="759349" y="214685"/>
                </a:moveTo>
                <a:cubicBezTo>
                  <a:pt x="765644" y="171615"/>
                  <a:pt x="771939" y="128546"/>
                  <a:pt x="719593" y="103367"/>
                </a:cubicBezTo>
                <a:cubicBezTo>
                  <a:pt x="667247" y="78188"/>
                  <a:pt x="529424" y="68248"/>
                  <a:pt x="445273" y="63610"/>
                </a:cubicBezTo>
                <a:cubicBezTo>
                  <a:pt x="361122" y="58972"/>
                  <a:pt x="277633" y="75537"/>
                  <a:pt x="214685" y="75537"/>
                </a:cubicBezTo>
                <a:cubicBezTo>
                  <a:pt x="151737" y="75537"/>
                  <a:pt x="103367" y="76199"/>
                  <a:pt x="67586" y="63610"/>
                </a:cubicBezTo>
                <a:cubicBezTo>
                  <a:pt x="31805" y="51020"/>
                  <a:pt x="9939" y="10602"/>
                  <a:pt x="0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9" name="Ellipse 198"/>
          <p:cNvSpPr/>
          <p:nvPr/>
        </p:nvSpPr>
        <p:spPr bwMode="auto">
          <a:xfrm>
            <a:off x="3254930" y="4228055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0" name="Textfeld 199"/>
          <p:cNvSpPr txBox="1"/>
          <p:nvPr/>
        </p:nvSpPr>
        <p:spPr>
          <a:xfrm>
            <a:off x="3261378" y="4172649"/>
            <a:ext cx="33444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600" b="1" dirty="0"/>
              <a:t>ŠID</a:t>
            </a:r>
            <a:endParaRPr lang="de-AT" sz="600" dirty="0"/>
          </a:p>
        </p:txBody>
      </p:sp>
      <p:sp>
        <p:nvSpPr>
          <p:cNvPr id="201" name="Ellipse 200"/>
          <p:cNvSpPr/>
          <p:nvPr/>
        </p:nvSpPr>
        <p:spPr bwMode="auto">
          <a:xfrm>
            <a:off x="1664323" y="3524382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2" name="Textfeld 201"/>
          <p:cNvSpPr txBox="1"/>
          <p:nvPr/>
        </p:nvSpPr>
        <p:spPr>
          <a:xfrm>
            <a:off x="1241827" y="3553401"/>
            <a:ext cx="58657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Giengen</a:t>
            </a:r>
            <a:endParaRPr lang="de-AT" sz="600" b="1" dirty="0"/>
          </a:p>
        </p:txBody>
      </p:sp>
      <p:sp>
        <p:nvSpPr>
          <p:cNvPr id="203" name="Freihandform 202"/>
          <p:cNvSpPr/>
          <p:nvPr/>
        </p:nvSpPr>
        <p:spPr bwMode="auto">
          <a:xfrm>
            <a:off x="2172614" y="3738067"/>
            <a:ext cx="593077" cy="307239"/>
          </a:xfrm>
          <a:custGeom>
            <a:avLst/>
            <a:gdLst>
              <a:gd name="connsiteX0" fmla="*/ 585216 w 593077"/>
              <a:gd name="connsiteY0" fmla="*/ 0 h 307239"/>
              <a:gd name="connsiteX1" fmla="*/ 570586 w 593077"/>
              <a:gd name="connsiteY1" fmla="*/ 146304 h 307239"/>
              <a:gd name="connsiteX2" fmla="*/ 395021 w 593077"/>
              <a:gd name="connsiteY2" fmla="*/ 226771 h 307239"/>
              <a:gd name="connsiteX3" fmla="*/ 160935 w 593077"/>
              <a:gd name="connsiteY3" fmla="*/ 263347 h 307239"/>
              <a:gd name="connsiteX4" fmla="*/ 65837 w 593077"/>
              <a:gd name="connsiteY4" fmla="*/ 263347 h 307239"/>
              <a:gd name="connsiteX5" fmla="*/ 0 w 593077"/>
              <a:gd name="connsiteY5" fmla="*/ 307239 h 307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3077" h="307239">
                <a:moveTo>
                  <a:pt x="585216" y="0"/>
                </a:moveTo>
                <a:cubicBezTo>
                  <a:pt x="593750" y="54254"/>
                  <a:pt x="602285" y="108509"/>
                  <a:pt x="570586" y="146304"/>
                </a:cubicBezTo>
                <a:cubicBezTo>
                  <a:pt x="538887" y="184099"/>
                  <a:pt x="463296" y="207264"/>
                  <a:pt x="395021" y="226771"/>
                </a:cubicBezTo>
                <a:cubicBezTo>
                  <a:pt x="326746" y="246278"/>
                  <a:pt x="215799" y="257251"/>
                  <a:pt x="160935" y="263347"/>
                </a:cubicBezTo>
                <a:cubicBezTo>
                  <a:pt x="106071" y="269443"/>
                  <a:pt x="92660" y="256032"/>
                  <a:pt x="65837" y="263347"/>
                </a:cubicBezTo>
                <a:cubicBezTo>
                  <a:pt x="39014" y="270662"/>
                  <a:pt x="19507" y="288950"/>
                  <a:pt x="0" y="307239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4" name="Ellipse 203"/>
          <p:cNvSpPr/>
          <p:nvPr/>
        </p:nvSpPr>
        <p:spPr bwMode="auto">
          <a:xfrm>
            <a:off x="2310702" y="427287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5" name="Ellipse 204"/>
          <p:cNvSpPr/>
          <p:nvPr/>
        </p:nvSpPr>
        <p:spPr bwMode="auto">
          <a:xfrm>
            <a:off x="2278996" y="419354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6" name="Ellipse 205"/>
          <p:cNvSpPr/>
          <p:nvPr/>
        </p:nvSpPr>
        <p:spPr bwMode="auto">
          <a:xfrm>
            <a:off x="2195814" y="4202318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7" name="Ellipse 206"/>
          <p:cNvSpPr/>
          <p:nvPr/>
        </p:nvSpPr>
        <p:spPr bwMode="auto">
          <a:xfrm>
            <a:off x="2109552" y="413024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08" name="Textfeld 207"/>
          <p:cNvSpPr txBox="1"/>
          <p:nvPr/>
        </p:nvSpPr>
        <p:spPr>
          <a:xfrm>
            <a:off x="2318122" y="4171368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Koper</a:t>
            </a:r>
            <a:endParaRPr lang="de-AT" sz="600" b="1" dirty="0"/>
          </a:p>
        </p:txBody>
      </p:sp>
      <p:sp>
        <p:nvSpPr>
          <p:cNvPr id="209" name="Textfeld 208"/>
          <p:cNvSpPr txBox="1"/>
          <p:nvPr/>
        </p:nvSpPr>
        <p:spPr>
          <a:xfrm>
            <a:off x="1963121" y="4236043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Trieste</a:t>
            </a:r>
            <a:endParaRPr lang="de-AT" sz="600" b="1" dirty="0"/>
          </a:p>
        </p:txBody>
      </p:sp>
      <p:sp>
        <p:nvSpPr>
          <p:cNvPr id="210" name="Textfeld 209"/>
          <p:cNvSpPr txBox="1"/>
          <p:nvPr/>
        </p:nvSpPr>
        <p:spPr>
          <a:xfrm>
            <a:off x="2299351" y="4045666"/>
            <a:ext cx="68387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Monfalcone</a:t>
            </a:r>
            <a:endParaRPr lang="de-AT" sz="600" b="1" dirty="0"/>
          </a:p>
        </p:txBody>
      </p:sp>
      <p:sp>
        <p:nvSpPr>
          <p:cNvPr id="211" name="Ellipse 210"/>
          <p:cNvSpPr/>
          <p:nvPr/>
        </p:nvSpPr>
        <p:spPr bwMode="auto">
          <a:xfrm>
            <a:off x="2225377" y="4118981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2" name="Ellipse 211"/>
          <p:cNvSpPr/>
          <p:nvPr/>
        </p:nvSpPr>
        <p:spPr bwMode="auto">
          <a:xfrm>
            <a:off x="1976667" y="442894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3" name="Textfeld 212"/>
          <p:cNvSpPr txBox="1"/>
          <p:nvPr/>
        </p:nvSpPr>
        <p:spPr>
          <a:xfrm>
            <a:off x="1793793" y="4454559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Lugo</a:t>
            </a:r>
            <a:endParaRPr lang="de-AT" sz="600" b="1" dirty="0"/>
          </a:p>
        </p:txBody>
      </p:sp>
      <p:sp>
        <p:nvSpPr>
          <p:cNvPr id="214" name="Ellipse 213"/>
          <p:cNvSpPr/>
          <p:nvPr/>
        </p:nvSpPr>
        <p:spPr bwMode="auto">
          <a:xfrm>
            <a:off x="1761183" y="416120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5" name="Textfeld 214"/>
          <p:cNvSpPr txBox="1"/>
          <p:nvPr/>
        </p:nvSpPr>
        <p:spPr>
          <a:xfrm>
            <a:off x="1409142" y="4356034"/>
            <a:ext cx="6476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Cava</a:t>
            </a:r>
            <a:r>
              <a:rPr lang="de-AT" sz="600" b="1" dirty="0" smtClean="0"/>
              <a:t> </a:t>
            </a:r>
            <a:r>
              <a:rPr lang="de-AT" sz="600" b="1" dirty="0" err="1" smtClean="0"/>
              <a:t>Tigozzi</a:t>
            </a:r>
            <a:endParaRPr lang="de-AT" sz="600" b="1" dirty="0"/>
          </a:p>
        </p:txBody>
      </p:sp>
      <p:sp>
        <p:nvSpPr>
          <p:cNvPr id="216" name="Freihandform 215"/>
          <p:cNvSpPr/>
          <p:nvPr/>
        </p:nvSpPr>
        <p:spPr bwMode="auto">
          <a:xfrm>
            <a:off x="2160409" y="4037610"/>
            <a:ext cx="95903" cy="106878"/>
          </a:xfrm>
          <a:custGeom>
            <a:avLst/>
            <a:gdLst>
              <a:gd name="connsiteX0" fmla="*/ 12775 w 95903"/>
              <a:gd name="connsiteY0" fmla="*/ 0 h 106878"/>
              <a:gd name="connsiteX1" fmla="*/ 6838 w 95903"/>
              <a:gd name="connsiteY1" fmla="*/ 53439 h 106878"/>
              <a:gd name="connsiteX2" fmla="*/ 95903 w 95903"/>
              <a:gd name="connsiteY2" fmla="*/ 106878 h 106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903" h="106878">
                <a:moveTo>
                  <a:pt x="12775" y="0"/>
                </a:moveTo>
                <a:cubicBezTo>
                  <a:pt x="2879" y="17813"/>
                  <a:pt x="-7017" y="35626"/>
                  <a:pt x="6838" y="53439"/>
                </a:cubicBezTo>
                <a:cubicBezTo>
                  <a:pt x="20693" y="71252"/>
                  <a:pt x="79080" y="96982"/>
                  <a:pt x="95903" y="106878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7" name="Freihandform 216"/>
          <p:cNvSpPr/>
          <p:nvPr/>
        </p:nvSpPr>
        <p:spPr bwMode="auto">
          <a:xfrm>
            <a:off x="2132155" y="4056296"/>
            <a:ext cx="34670" cy="86673"/>
          </a:xfrm>
          <a:custGeom>
            <a:avLst/>
            <a:gdLst>
              <a:gd name="connsiteX0" fmla="*/ 0 w 34670"/>
              <a:gd name="connsiteY0" fmla="*/ 86673 h 86673"/>
              <a:gd name="connsiteX1" fmla="*/ 34670 w 34670"/>
              <a:gd name="connsiteY1" fmla="*/ 0 h 86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670" h="86673">
                <a:moveTo>
                  <a:pt x="0" y="86673"/>
                </a:moveTo>
                <a:lnTo>
                  <a:pt x="34670" y="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8" name="Freihandform 217"/>
          <p:cNvSpPr/>
          <p:nvPr/>
        </p:nvSpPr>
        <p:spPr bwMode="auto">
          <a:xfrm>
            <a:off x="2332918" y="4004292"/>
            <a:ext cx="67939" cy="290354"/>
          </a:xfrm>
          <a:custGeom>
            <a:avLst/>
            <a:gdLst>
              <a:gd name="connsiteX0" fmla="*/ 28921 w 67939"/>
              <a:gd name="connsiteY0" fmla="*/ 290354 h 290354"/>
              <a:gd name="connsiteX1" fmla="*/ 67924 w 67939"/>
              <a:gd name="connsiteY1" fmla="*/ 221016 h 290354"/>
              <a:gd name="connsiteX2" fmla="*/ 33255 w 67939"/>
              <a:gd name="connsiteY2" fmla="*/ 177680 h 290354"/>
              <a:gd name="connsiteX3" fmla="*/ 2919 w 67939"/>
              <a:gd name="connsiteY3" fmla="*/ 43336 h 290354"/>
              <a:gd name="connsiteX4" fmla="*/ 2919 w 67939"/>
              <a:gd name="connsiteY4" fmla="*/ 0 h 29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939" h="290354">
                <a:moveTo>
                  <a:pt x="28921" y="290354"/>
                </a:moveTo>
                <a:cubicBezTo>
                  <a:pt x="48061" y="265074"/>
                  <a:pt x="67202" y="239795"/>
                  <a:pt x="67924" y="221016"/>
                </a:cubicBezTo>
                <a:cubicBezTo>
                  <a:pt x="68646" y="202237"/>
                  <a:pt x="44089" y="207293"/>
                  <a:pt x="33255" y="177680"/>
                </a:cubicBezTo>
                <a:cubicBezTo>
                  <a:pt x="22421" y="148067"/>
                  <a:pt x="7975" y="72949"/>
                  <a:pt x="2919" y="43336"/>
                </a:cubicBezTo>
                <a:cubicBezTo>
                  <a:pt x="-2137" y="13723"/>
                  <a:pt x="391" y="6861"/>
                  <a:pt x="2919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9" name="Freihandform 218"/>
          <p:cNvSpPr/>
          <p:nvPr/>
        </p:nvSpPr>
        <p:spPr bwMode="auto">
          <a:xfrm>
            <a:off x="2000478" y="4173304"/>
            <a:ext cx="144678" cy="287688"/>
          </a:xfrm>
          <a:custGeom>
            <a:avLst/>
            <a:gdLst>
              <a:gd name="connsiteX0" fmla="*/ 144678 w 144678"/>
              <a:gd name="connsiteY0" fmla="*/ 0 h 287688"/>
              <a:gd name="connsiteX1" fmla="*/ 101342 w 144678"/>
              <a:gd name="connsiteY1" fmla="*/ 73672 h 287688"/>
              <a:gd name="connsiteX2" fmla="*/ 19003 w 144678"/>
              <a:gd name="connsiteY2" fmla="*/ 95341 h 287688"/>
              <a:gd name="connsiteX3" fmla="*/ 1668 w 144678"/>
              <a:gd name="connsiteY3" fmla="*/ 260019 h 287688"/>
              <a:gd name="connsiteX4" fmla="*/ 1668 w 144678"/>
              <a:gd name="connsiteY4" fmla="*/ 286021 h 287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678" h="287688">
                <a:moveTo>
                  <a:pt x="144678" y="0"/>
                </a:moveTo>
                <a:cubicBezTo>
                  <a:pt x="133483" y="28891"/>
                  <a:pt x="122288" y="57782"/>
                  <a:pt x="101342" y="73672"/>
                </a:cubicBezTo>
                <a:cubicBezTo>
                  <a:pt x="80396" y="89562"/>
                  <a:pt x="35615" y="64283"/>
                  <a:pt x="19003" y="95341"/>
                </a:cubicBezTo>
                <a:cubicBezTo>
                  <a:pt x="2391" y="126399"/>
                  <a:pt x="4557" y="228239"/>
                  <a:pt x="1668" y="260019"/>
                </a:cubicBezTo>
                <a:cubicBezTo>
                  <a:pt x="-1221" y="291799"/>
                  <a:pt x="223" y="288910"/>
                  <a:pt x="1668" y="286021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0" name="Freihandform 219"/>
          <p:cNvSpPr/>
          <p:nvPr/>
        </p:nvSpPr>
        <p:spPr bwMode="auto">
          <a:xfrm>
            <a:off x="2379173" y="4186192"/>
            <a:ext cx="290355" cy="13114"/>
          </a:xfrm>
          <a:custGeom>
            <a:avLst/>
            <a:gdLst>
              <a:gd name="connsiteX0" fmla="*/ 290355 w 290355"/>
              <a:gd name="connsiteY0" fmla="*/ 13114 h 13114"/>
              <a:gd name="connsiteX1" fmla="*/ 177680 w 290355"/>
              <a:gd name="connsiteY1" fmla="*/ 4447 h 13114"/>
              <a:gd name="connsiteX2" fmla="*/ 65005 w 290355"/>
              <a:gd name="connsiteY2" fmla="*/ 113 h 13114"/>
              <a:gd name="connsiteX3" fmla="*/ 0 w 290355"/>
              <a:gd name="connsiteY3" fmla="*/ 8781 h 13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355" h="13114">
                <a:moveTo>
                  <a:pt x="290355" y="13114"/>
                </a:moveTo>
                <a:lnTo>
                  <a:pt x="177680" y="4447"/>
                </a:lnTo>
                <a:cubicBezTo>
                  <a:pt x="140122" y="2280"/>
                  <a:pt x="94618" y="-609"/>
                  <a:pt x="65005" y="113"/>
                </a:cubicBezTo>
                <a:cubicBezTo>
                  <a:pt x="35392" y="835"/>
                  <a:pt x="17696" y="4808"/>
                  <a:pt x="0" y="8781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1" name="Ellipse 220"/>
          <p:cNvSpPr/>
          <p:nvPr/>
        </p:nvSpPr>
        <p:spPr bwMode="auto">
          <a:xfrm>
            <a:off x="2828925" y="4284509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2" name="Textfeld 221"/>
          <p:cNvSpPr txBox="1"/>
          <p:nvPr/>
        </p:nvSpPr>
        <p:spPr>
          <a:xfrm>
            <a:off x="2740461" y="4316849"/>
            <a:ext cx="5012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Volinja</a:t>
            </a:r>
            <a:endParaRPr lang="de-AT" sz="600" dirty="0"/>
          </a:p>
        </p:txBody>
      </p:sp>
      <p:sp>
        <p:nvSpPr>
          <p:cNvPr id="223" name="Freihandform 222"/>
          <p:cNvSpPr/>
          <p:nvPr/>
        </p:nvSpPr>
        <p:spPr bwMode="auto">
          <a:xfrm>
            <a:off x="2769202" y="4216641"/>
            <a:ext cx="82339" cy="86673"/>
          </a:xfrm>
          <a:custGeom>
            <a:avLst/>
            <a:gdLst>
              <a:gd name="connsiteX0" fmla="*/ 82339 w 82339"/>
              <a:gd name="connsiteY0" fmla="*/ 86673 h 86673"/>
              <a:gd name="connsiteX1" fmla="*/ 0 w 82339"/>
              <a:gd name="connsiteY1" fmla="*/ 0 h 86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339" h="86673">
                <a:moveTo>
                  <a:pt x="82339" y="86673"/>
                </a:move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4" name="Freihandform 223"/>
          <p:cNvSpPr/>
          <p:nvPr/>
        </p:nvSpPr>
        <p:spPr bwMode="auto">
          <a:xfrm>
            <a:off x="2277166" y="4147206"/>
            <a:ext cx="98197" cy="45719"/>
          </a:xfrm>
          <a:custGeom>
            <a:avLst/>
            <a:gdLst>
              <a:gd name="connsiteX0" fmla="*/ 100483 w 100483"/>
              <a:gd name="connsiteY0" fmla="*/ 40193 h 40193"/>
              <a:gd name="connsiteX1" fmla="*/ 0 w 100483"/>
              <a:gd name="connsiteY1" fmla="*/ 0 h 40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483" h="40193">
                <a:moveTo>
                  <a:pt x="100483" y="40193"/>
                </a:moveTo>
                <a:cubicBezTo>
                  <a:pt x="66989" y="26795"/>
                  <a:pt x="17584" y="5861"/>
                  <a:pt x="0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de-AT" sz="24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5" name="Ellipse 224"/>
          <p:cNvSpPr/>
          <p:nvPr/>
        </p:nvSpPr>
        <p:spPr bwMode="auto">
          <a:xfrm>
            <a:off x="2141973" y="4013811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6" name="Ellipse 225"/>
          <p:cNvSpPr/>
          <p:nvPr/>
        </p:nvSpPr>
        <p:spPr bwMode="auto">
          <a:xfrm>
            <a:off x="5040733" y="5082876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27" name="Ellipse 226"/>
          <p:cNvSpPr/>
          <p:nvPr/>
        </p:nvSpPr>
        <p:spPr bwMode="auto">
          <a:xfrm>
            <a:off x="5129803" y="5017558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228" name="Straight Connector 50"/>
          <p:cNvCxnSpPr>
            <a:stCxn id="159" idx="0"/>
            <a:endCxn id="203" idx="0"/>
          </p:cNvCxnSpPr>
          <p:nvPr/>
        </p:nvCxnSpPr>
        <p:spPr bwMode="auto">
          <a:xfrm flipH="1">
            <a:off x="2757830" y="3562350"/>
            <a:ext cx="48870" cy="175717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9" name="Ellipse 147"/>
          <p:cNvSpPr/>
          <p:nvPr/>
        </p:nvSpPr>
        <p:spPr bwMode="auto">
          <a:xfrm>
            <a:off x="1204155" y="293926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0" name="Rectangle 54"/>
          <p:cNvSpPr/>
          <p:nvPr/>
        </p:nvSpPr>
        <p:spPr>
          <a:xfrm>
            <a:off x="776420" y="3266559"/>
            <a:ext cx="69923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e-AT" sz="600" b="1" dirty="0"/>
              <a:t>Ludwigshafen</a:t>
            </a:r>
            <a:endParaRPr lang="en-GB" sz="600" b="1" dirty="0"/>
          </a:p>
        </p:txBody>
      </p:sp>
      <p:sp>
        <p:nvSpPr>
          <p:cNvPr id="231" name="Ellipse 147"/>
          <p:cNvSpPr/>
          <p:nvPr/>
        </p:nvSpPr>
        <p:spPr bwMode="auto">
          <a:xfrm>
            <a:off x="1257723" y="3117424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2" name="Rectangle 89"/>
          <p:cNvSpPr/>
          <p:nvPr/>
        </p:nvSpPr>
        <p:spPr>
          <a:xfrm>
            <a:off x="966746" y="3133494"/>
            <a:ext cx="417102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600" b="1" dirty="0"/>
              <a:t>Neuss</a:t>
            </a:r>
            <a:endParaRPr lang="en-GB" sz="600" b="1" dirty="0"/>
          </a:p>
        </p:txBody>
      </p:sp>
      <p:sp>
        <p:nvSpPr>
          <p:cNvPr id="233" name="Ellipse 147"/>
          <p:cNvSpPr/>
          <p:nvPr/>
        </p:nvSpPr>
        <p:spPr bwMode="auto">
          <a:xfrm>
            <a:off x="1712308" y="2565207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4" name="Rectangle 192"/>
          <p:cNvSpPr/>
          <p:nvPr/>
        </p:nvSpPr>
        <p:spPr>
          <a:xfrm>
            <a:off x="1724344" y="2505214"/>
            <a:ext cx="52290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600" b="1" dirty="0"/>
              <a:t>Hamburg</a:t>
            </a:r>
            <a:endParaRPr lang="en-GB" sz="600" b="1" dirty="0"/>
          </a:p>
        </p:txBody>
      </p:sp>
      <p:sp>
        <p:nvSpPr>
          <p:cNvPr id="235" name="Ellipse 137"/>
          <p:cNvSpPr/>
          <p:nvPr/>
        </p:nvSpPr>
        <p:spPr bwMode="auto">
          <a:xfrm>
            <a:off x="4622998" y="400527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36" name="Rectangle 202"/>
          <p:cNvSpPr/>
          <p:nvPr/>
        </p:nvSpPr>
        <p:spPr>
          <a:xfrm>
            <a:off x="4480160" y="3859086"/>
            <a:ext cx="76014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b="1" dirty="0" err="1"/>
              <a:t>Sfantu</a:t>
            </a:r>
            <a:r>
              <a:rPr lang="en-US" sz="600" b="1" dirty="0"/>
              <a:t> </a:t>
            </a:r>
            <a:r>
              <a:rPr lang="en-US" sz="600" b="1" dirty="0" err="1"/>
              <a:t>Gheorge</a:t>
            </a:r>
            <a:endParaRPr lang="en-GB" sz="600" b="1" dirty="0"/>
          </a:p>
        </p:txBody>
      </p:sp>
      <p:cxnSp>
        <p:nvCxnSpPr>
          <p:cNvPr id="237" name="Straight Connector 237"/>
          <p:cNvCxnSpPr>
            <a:stCxn id="196" idx="2"/>
            <a:endCxn id="171" idx="2"/>
          </p:cNvCxnSpPr>
          <p:nvPr/>
        </p:nvCxnSpPr>
        <p:spPr bwMode="auto">
          <a:xfrm flipV="1">
            <a:off x="4015460" y="4056296"/>
            <a:ext cx="98816" cy="92794"/>
          </a:xfrm>
          <a:prstGeom prst="curvedConnector5">
            <a:avLst>
              <a:gd name="adj1" fmla="val -9639"/>
              <a:gd name="adj2" fmla="val 91228"/>
              <a:gd name="adj3" fmla="val 8554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50"/>
          <p:cNvCxnSpPr>
            <a:stCxn id="171" idx="2"/>
            <a:endCxn id="181" idx="1"/>
          </p:cNvCxnSpPr>
          <p:nvPr/>
        </p:nvCxnSpPr>
        <p:spPr bwMode="auto">
          <a:xfrm rot="10800000" flipH="1" flipV="1">
            <a:off x="4114276" y="4056296"/>
            <a:ext cx="564072" cy="256166"/>
          </a:xfrm>
          <a:prstGeom prst="curvedConnector4">
            <a:avLst>
              <a:gd name="adj1" fmla="val 55302"/>
              <a:gd name="adj2" fmla="val 1542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9" name="Straight Connector 269"/>
          <p:cNvCxnSpPr/>
          <p:nvPr/>
        </p:nvCxnSpPr>
        <p:spPr bwMode="auto">
          <a:xfrm flipH="1">
            <a:off x="4584769" y="4037610"/>
            <a:ext cx="66895" cy="65083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0" name="Ellipse 180"/>
          <p:cNvSpPr/>
          <p:nvPr/>
        </p:nvSpPr>
        <p:spPr bwMode="auto">
          <a:xfrm>
            <a:off x="1876240" y="3949211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cxnSp>
        <p:nvCxnSpPr>
          <p:cNvPr id="241" name="Straight Connector 272"/>
          <p:cNvCxnSpPr/>
          <p:nvPr/>
        </p:nvCxnSpPr>
        <p:spPr bwMode="auto">
          <a:xfrm flipH="1">
            <a:off x="1803993" y="3959748"/>
            <a:ext cx="113222" cy="20275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2" name="Straight Connector 277"/>
          <p:cNvCxnSpPr/>
          <p:nvPr/>
        </p:nvCxnSpPr>
        <p:spPr bwMode="auto">
          <a:xfrm flipH="1">
            <a:off x="1835908" y="4162584"/>
            <a:ext cx="296249" cy="130151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3" name="Rectangle 288"/>
          <p:cNvSpPr/>
          <p:nvPr/>
        </p:nvSpPr>
        <p:spPr>
          <a:xfrm>
            <a:off x="1405863" y="3939121"/>
            <a:ext cx="527709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b="1" dirty="0" err="1" smtClean="0"/>
              <a:t>Brennero</a:t>
            </a:r>
            <a:endParaRPr lang="en-GB" sz="600" b="1" dirty="0"/>
          </a:p>
        </p:txBody>
      </p:sp>
      <p:cxnSp>
        <p:nvCxnSpPr>
          <p:cNvPr id="244" name="Straight Connector 295"/>
          <p:cNvCxnSpPr>
            <a:stCxn id="211" idx="3"/>
            <a:endCxn id="209" idx="0"/>
          </p:cNvCxnSpPr>
          <p:nvPr/>
        </p:nvCxnSpPr>
        <p:spPr bwMode="auto">
          <a:xfrm flipH="1">
            <a:off x="2215900" y="4174189"/>
            <a:ext cx="17873" cy="61854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5" name="Straight Connector 297"/>
          <p:cNvCxnSpPr>
            <a:stCxn id="211" idx="5"/>
            <a:endCxn id="205" idx="1"/>
          </p:cNvCxnSpPr>
          <p:nvPr/>
        </p:nvCxnSpPr>
        <p:spPr bwMode="auto">
          <a:xfrm>
            <a:off x="2274313" y="4174189"/>
            <a:ext cx="13079" cy="28827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6" name="Straight Connector 302"/>
          <p:cNvCxnSpPr>
            <a:stCxn id="219" idx="0"/>
            <a:endCxn id="209" idx="0"/>
          </p:cNvCxnSpPr>
          <p:nvPr/>
        </p:nvCxnSpPr>
        <p:spPr bwMode="auto">
          <a:xfrm>
            <a:off x="2145156" y="4173304"/>
            <a:ext cx="70744" cy="62739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7" name="Straight Connector 306"/>
          <p:cNvCxnSpPr>
            <a:stCxn id="156" idx="2"/>
            <a:endCxn id="157" idx="0"/>
          </p:cNvCxnSpPr>
          <p:nvPr/>
        </p:nvCxnSpPr>
        <p:spPr bwMode="auto">
          <a:xfrm flipH="1">
            <a:off x="3009900" y="4171950"/>
            <a:ext cx="9525" cy="1905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8" name="Freihandform 247"/>
          <p:cNvSpPr/>
          <p:nvPr/>
        </p:nvSpPr>
        <p:spPr bwMode="auto">
          <a:xfrm>
            <a:off x="1219205" y="2591667"/>
            <a:ext cx="1055108" cy="1030405"/>
          </a:xfrm>
          <a:custGeom>
            <a:avLst/>
            <a:gdLst>
              <a:gd name="connsiteX0" fmla="*/ 509197 w 1055108"/>
              <a:gd name="connsiteY0" fmla="*/ 0 h 1030405"/>
              <a:gd name="connsiteX1" fmla="*/ 406839 w 1055108"/>
              <a:gd name="connsiteY1" fmla="*/ 177420 h 1030405"/>
              <a:gd name="connsiteX2" fmla="*/ 24702 w 1055108"/>
              <a:gd name="connsiteY2" fmla="*/ 361665 h 1030405"/>
              <a:gd name="connsiteX3" fmla="*/ 51997 w 1055108"/>
              <a:gd name="connsiteY3" fmla="*/ 532262 h 1030405"/>
              <a:gd name="connsiteX4" fmla="*/ 168003 w 1055108"/>
              <a:gd name="connsiteY4" fmla="*/ 682388 h 1030405"/>
              <a:gd name="connsiteX5" fmla="*/ 311305 w 1055108"/>
              <a:gd name="connsiteY5" fmla="*/ 825689 h 1030405"/>
              <a:gd name="connsiteX6" fmla="*/ 461430 w 1055108"/>
              <a:gd name="connsiteY6" fmla="*/ 730155 h 1030405"/>
              <a:gd name="connsiteX7" fmla="*/ 727561 w 1055108"/>
              <a:gd name="connsiteY7" fmla="*/ 887104 h 1030405"/>
              <a:gd name="connsiteX8" fmla="*/ 1055108 w 1055108"/>
              <a:gd name="connsiteY8" fmla="*/ 1030405 h 1030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5108" h="1030405">
                <a:moveTo>
                  <a:pt x="509197" y="0"/>
                </a:moveTo>
                <a:cubicBezTo>
                  <a:pt x="498392" y="58571"/>
                  <a:pt x="487588" y="117143"/>
                  <a:pt x="406839" y="177420"/>
                </a:cubicBezTo>
                <a:cubicBezTo>
                  <a:pt x="326090" y="237697"/>
                  <a:pt x="83842" y="302525"/>
                  <a:pt x="24702" y="361665"/>
                </a:cubicBezTo>
                <a:cubicBezTo>
                  <a:pt x="-34438" y="420805"/>
                  <a:pt x="28114" y="478808"/>
                  <a:pt x="51997" y="532262"/>
                </a:cubicBezTo>
                <a:cubicBezTo>
                  <a:pt x="75880" y="585716"/>
                  <a:pt x="124785" y="633483"/>
                  <a:pt x="168003" y="682388"/>
                </a:cubicBezTo>
                <a:cubicBezTo>
                  <a:pt x="211221" y="731293"/>
                  <a:pt x="262401" y="817728"/>
                  <a:pt x="311305" y="825689"/>
                </a:cubicBezTo>
                <a:cubicBezTo>
                  <a:pt x="360209" y="833650"/>
                  <a:pt x="392054" y="719919"/>
                  <a:pt x="461430" y="730155"/>
                </a:cubicBezTo>
                <a:cubicBezTo>
                  <a:pt x="530806" y="740391"/>
                  <a:pt x="628615" y="837062"/>
                  <a:pt x="727561" y="887104"/>
                </a:cubicBezTo>
                <a:cubicBezTo>
                  <a:pt x="826507" y="937146"/>
                  <a:pt x="1055108" y="1030405"/>
                  <a:pt x="1055108" y="1030405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49" name="Freihandform 248"/>
          <p:cNvSpPr/>
          <p:nvPr/>
        </p:nvSpPr>
        <p:spPr bwMode="auto">
          <a:xfrm>
            <a:off x="1684741" y="3377821"/>
            <a:ext cx="109940" cy="170597"/>
          </a:xfrm>
          <a:custGeom>
            <a:avLst/>
            <a:gdLst>
              <a:gd name="connsiteX0" fmla="*/ 109940 w 109940"/>
              <a:gd name="connsiteY0" fmla="*/ 0 h 170597"/>
              <a:gd name="connsiteX1" fmla="*/ 7582 w 109940"/>
              <a:gd name="connsiteY1" fmla="*/ 47767 h 170597"/>
              <a:gd name="connsiteX2" fmla="*/ 7582 w 109940"/>
              <a:gd name="connsiteY2" fmla="*/ 170597 h 1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940" h="170597">
                <a:moveTo>
                  <a:pt x="109940" y="0"/>
                </a:moveTo>
                <a:cubicBezTo>
                  <a:pt x="67291" y="9667"/>
                  <a:pt x="24642" y="19334"/>
                  <a:pt x="7582" y="47767"/>
                </a:cubicBezTo>
                <a:cubicBezTo>
                  <a:pt x="-9478" y="76200"/>
                  <a:pt x="7582" y="170597"/>
                  <a:pt x="7582" y="170597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50" name="Freihandform 249"/>
          <p:cNvSpPr/>
          <p:nvPr/>
        </p:nvSpPr>
        <p:spPr bwMode="auto">
          <a:xfrm>
            <a:off x="4244454" y="4346812"/>
            <a:ext cx="47767" cy="136478"/>
          </a:xfrm>
          <a:custGeom>
            <a:avLst/>
            <a:gdLst>
              <a:gd name="connsiteX0" fmla="*/ 0 w 47767"/>
              <a:gd name="connsiteY0" fmla="*/ 136478 h 136478"/>
              <a:gd name="connsiteX1" fmla="*/ 47767 w 47767"/>
              <a:gd name="connsiteY1" fmla="*/ 0 h 136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767" h="136478">
                <a:moveTo>
                  <a:pt x="0" y="136478"/>
                </a:moveTo>
                <a:cubicBezTo>
                  <a:pt x="17628" y="80181"/>
                  <a:pt x="35257" y="23884"/>
                  <a:pt x="47767" y="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51" name="Ellipse 250"/>
          <p:cNvSpPr/>
          <p:nvPr/>
        </p:nvSpPr>
        <p:spPr bwMode="auto">
          <a:xfrm>
            <a:off x="4263251" y="4319263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52" name="Textfeld 251"/>
          <p:cNvSpPr txBox="1"/>
          <p:nvPr/>
        </p:nvSpPr>
        <p:spPr>
          <a:xfrm>
            <a:off x="4010298" y="4167811"/>
            <a:ext cx="505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Ciumesti</a:t>
            </a:r>
            <a:endParaRPr lang="de-AT" sz="600" b="1" dirty="0" smtClean="0"/>
          </a:p>
        </p:txBody>
      </p:sp>
      <p:sp>
        <p:nvSpPr>
          <p:cNvPr id="253" name="Rectangle 288"/>
          <p:cNvSpPr/>
          <p:nvPr/>
        </p:nvSpPr>
        <p:spPr>
          <a:xfrm>
            <a:off x="1412394" y="4077608"/>
            <a:ext cx="42351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b="1" dirty="0" smtClean="0"/>
              <a:t>Trento</a:t>
            </a:r>
            <a:endParaRPr lang="en-GB" sz="600" b="1" dirty="0"/>
          </a:p>
        </p:txBody>
      </p:sp>
      <p:sp>
        <p:nvSpPr>
          <p:cNvPr id="254" name="Ellipse 253"/>
          <p:cNvSpPr/>
          <p:nvPr/>
        </p:nvSpPr>
        <p:spPr bwMode="auto">
          <a:xfrm>
            <a:off x="1792423" y="4272677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55" name="Textfeld 254"/>
          <p:cNvSpPr txBox="1"/>
          <p:nvPr/>
        </p:nvSpPr>
        <p:spPr>
          <a:xfrm>
            <a:off x="1411078" y="4234535"/>
            <a:ext cx="64764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Verona</a:t>
            </a:r>
            <a:endParaRPr lang="de-AT" sz="600" b="1" dirty="0"/>
          </a:p>
        </p:txBody>
      </p:sp>
      <p:cxnSp>
        <p:nvCxnSpPr>
          <p:cNvPr id="256" name="Gerade Verbindung 255"/>
          <p:cNvCxnSpPr/>
          <p:nvPr/>
        </p:nvCxnSpPr>
        <p:spPr bwMode="auto">
          <a:xfrm>
            <a:off x="1795303" y="4193544"/>
            <a:ext cx="18962" cy="11891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7" name="Textfeld 256"/>
          <p:cNvSpPr txBox="1"/>
          <p:nvPr/>
        </p:nvSpPr>
        <p:spPr>
          <a:xfrm>
            <a:off x="4742506" y="5109879"/>
            <a:ext cx="6146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Tekirdag</a:t>
            </a:r>
            <a:endParaRPr lang="de-AT" sz="600" b="1" dirty="0" smtClean="0"/>
          </a:p>
        </p:txBody>
      </p:sp>
      <p:sp>
        <p:nvSpPr>
          <p:cNvPr id="258" name="Textfeld 257"/>
          <p:cNvSpPr txBox="1"/>
          <p:nvPr/>
        </p:nvSpPr>
        <p:spPr>
          <a:xfrm>
            <a:off x="5098065" y="4870925"/>
            <a:ext cx="6146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Cerkezköy</a:t>
            </a:r>
            <a:endParaRPr lang="de-AT" sz="600" b="1" dirty="0" smtClean="0"/>
          </a:p>
        </p:txBody>
      </p:sp>
      <p:sp>
        <p:nvSpPr>
          <p:cNvPr id="259" name="Ellipse 258"/>
          <p:cNvSpPr/>
          <p:nvPr/>
        </p:nvSpPr>
        <p:spPr bwMode="auto">
          <a:xfrm>
            <a:off x="4578683" y="4533365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0" name="Textfeld 259"/>
          <p:cNvSpPr txBox="1"/>
          <p:nvPr/>
        </p:nvSpPr>
        <p:spPr>
          <a:xfrm>
            <a:off x="4622998" y="4454559"/>
            <a:ext cx="614629" cy="18466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Ruse</a:t>
            </a:r>
          </a:p>
        </p:txBody>
      </p:sp>
      <p:sp>
        <p:nvSpPr>
          <p:cNvPr id="261" name="Ellipse 260"/>
          <p:cNvSpPr/>
          <p:nvPr/>
        </p:nvSpPr>
        <p:spPr bwMode="auto">
          <a:xfrm>
            <a:off x="3810491" y="3554942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2" name="Textfeld 261"/>
          <p:cNvSpPr txBox="1"/>
          <p:nvPr/>
        </p:nvSpPr>
        <p:spPr>
          <a:xfrm>
            <a:off x="3866276" y="3503910"/>
            <a:ext cx="6146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err="1" smtClean="0"/>
              <a:t>Zahony</a:t>
            </a:r>
            <a:endParaRPr lang="de-AT" sz="600" b="1" dirty="0" smtClean="0"/>
          </a:p>
        </p:txBody>
      </p:sp>
      <p:sp>
        <p:nvSpPr>
          <p:cNvPr id="263" name="Freihandform 262"/>
          <p:cNvSpPr/>
          <p:nvPr/>
        </p:nvSpPr>
        <p:spPr bwMode="auto">
          <a:xfrm>
            <a:off x="3527946" y="3589361"/>
            <a:ext cx="313899" cy="286603"/>
          </a:xfrm>
          <a:custGeom>
            <a:avLst/>
            <a:gdLst>
              <a:gd name="connsiteX0" fmla="*/ 313899 w 313899"/>
              <a:gd name="connsiteY0" fmla="*/ 0 h 286603"/>
              <a:gd name="connsiteX1" fmla="*/ 177421 w 313899"/>
              <a:gd name="connsiteY1" fmla="*/ 109182 h 286603"/>
              <a:gd name="connsiteX2" fmla="*/ 109182 w 313899"/>
              <a:gd name="connsiteY2" fmla="*/ 225188 h 286603"/>
              <a:gd name="connsiteX3" fmla="*/ 0 w 313899"/>
              <a:gd name="connsiteY3" fmla="*/ 286603 h 286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899" h="286603">
                <a:moveTo>
                  <a:pt x="313899" y="0"/>
                </a:moveTo>
                <a:cubicBezTo>
                  <a:pt x="262720" y="35825"/>
                  <a:pt x="211541" y="71651"/>
                  <a:pt x="177421" y="109182"/>
                </a:cubicBezTo>
                <a:cubicBezTo>
                  <a:pt x="143301" y="146713"/>
                  <a:pt x="138752" y="195618"/>
                  <a:pt x="109182" y="225188"/>
                </a:cubicBezTo>
                <a:cubicBezTo>
                  <a:pt x="79612" y="254758"/>
                  <a:pt x="39806" y="270680"/>
                  <a:pt x="0" y="286603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4" name="Ellipse 263"/>
          <p:cNvSpPr/>
          <p:nvPr/>
        </p:nvSpPr>
        <p:spPr bwMode="auto">
          <a:xfrm>
            <a:off x="2190940" y="3726897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5" name="Textfeld 264"/>
          <p:cNvSpPr txBox="1"/>
          <p:nvPr/>
        </p:nvSpPr>
        <p:spPr>
          <a:xfrm>
            <a:off x="2132787" y="3748404"/>
            <a:ext cx="53674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Salzburg</a:t>
            </a:r>
            <a:endParaRPr lang="de-AT" sz="600" b="1" dirty="0"/>
          </a:p>
        </p:txBody>
      </p:sp>
      <p:sp>
        <p:nvSpPr>
          <p:cNvPr id="14" name="Freihandform 13"/>
          <p:cNvSpPr/>
          <p:nvPr/>
        </p:nvSpPr>
        <p:spPr bwMode="auto">
          <a:xfrm>
            <a:off x="2025990" y="3507360"/>
            <a:ext cx="182370" cy="242020"/>
          </a:xfrm>
          <a:custGeom>
            <a:avLst/>
            <a:gdLst>
              <a:gd name="connsiteX0" fmla="*/ 0 w 228600"/>
              <a:gd name="connsiteY0" fmla="*/ 0 h 260350"/>
              <a:gd name="connsiteX1" fmla="*/ 228600 w 228600"/>
              <a:gd name="connsiteY1" fmla="*/ 260350 h 260350"/>
              <a:gd name="connsiteX2" fmla="*/ 228600 w 228600"/>
              <a:gd name="connsiteY2" fmla="*/ 260350 h 260350"/>
              <a:gd name="connsiteX3" fmla="*/ 228600 w 228600"/>
              <a:gd name="connsiteY3" fmla="*/ 260350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" h="260350">
                <a:moveTo>
                  <a:pt x="0" y="0"/>
                </a:moveTo>
                <a:lnTo>
                  <a:pt x="228600" y="260350"/>
                </a:lnTo>
                <a:lnTo>
                  <a:pt x="228600" y="260350"/>
                </a:lnTo>
                <a:lnTo>
                  <a:pt x="228600" y="26035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6" name="Ellipse 147"/>
          <p:cNvSpPr/>
          <p:nvPr/>
        </p:nvSpPr>
        <p:spPr bwMode="auto">
          <a:xfrm>
            <a:off x="1528158" y="256488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7" name="Rectangle 192"/>
          <p:cNvSpPr/>
          <p:nvPr/>
        </p:nvSpPr>
        <p:spPr>
          <a:xfrm>
            <a:off x="888536" y="2499334"/>
            <a:ext cx="679994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600" b="1" dirty="0" smtClean="0"/>
              <a:t>Bremerhaven</a:t>
            </a:r>
            <a:endParaRPr lang="en-GB" sz="600" b="1" dirty="0"/>
          </a:p>
        </p:txBody>
      </p:sp>
      <p:sp>
        <p:nvSpPr>
          <p:cNvPr id="15" name="Freihandform 14"/>
          <p:cNvSpPr/>
          <p:nvPr/>
        </p:nvSpPr>
        <p:spPr bwMode="auto">
          <a:xfrm>
            <a:off x="1524000" y="2597150"/>
            <a:ext cx="25400" cy="222250"/>
          </a:xfrm>
          <a:custGeom>
            <a:avLst/>
            <a:gdLst>
              <a:gd name="connsiteX0" fmla="*/ 25400 w 25400"/>
              <a:gd name="connsiteY0" fmla="*/ 0 h 222250"/>
              <a:gd name="connsiteX1" fmla="*/ 0 w 25400"/>
              <a:gd name="connsiteY1" fmla="*/ 222250 h 222250"/>
              <a:gd name="connsiteX2" fmla="*/ 0 w 25400"/>
              <a:gd name="connsiteY2" fmla="*/ 222250 h 222250"/>
              <a:gd name="connsiteX3" fmla="*/ 0 w 25400"/>
              <a:gd name="connsiteY3" fmla="*/ 22225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" h="222250">
                <a:moveTo>
                  <a:pt x="25400" y="0"/>
                </a:moveTo>
                <a:lnTo>
                  <a:pt x="0" y="222250"/>
                </a:lnTo>
                <a:lnTo>
                  <a:pt x="0" y="222250"/>
                </a:lnTo>
                <a:lnTo>
                  <a:pt x="0" y="22225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8" name="Ellipse 147"/>
          <p:cNvSpPr/>
          <p:nvPr/>
        </p:nvSpPr>
        <p:spPr bwMode="auto">
          <a:xfrm>
            <a:off x="1511198" y="278824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69" name="Rectangle 192"/>
          <p:cNvSpPr/>
          <p:nvPr/>
        </p:nvSpPr>
        <p:spPr>
          <a:xfrm>
            <a:off x="1527384" y="2728247"/>
            <a:ext cx="473206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600" b="1" dirty="0" smtClean="0"/>
              <a:t>Bremen</a:t>
            </a:r>
            <a:endParaRPr lang="en-GB" sz="600" b="1" dirty="0"/>
          </a:p>
        </p:txBody>
      </p:sp>
      <p:sp>
        <p:nvSpPr>
          <p:cNvPr id="270" name="Ellipse 269"/>
          <p:cNvSpPr/>
          <p:nvPr/>
        </p:nvSpPr>
        <p:spPr bwMode="auto">
          <a:xfrm>
            <a:off x="2072600" y="371704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1" name="Textfeld 270"/>
          <p:cNvSpPr txBox="1"/>
          <p:nvPr/>
        </p:nvSpPr>
        <p:spPr>
          <a:xfrm>
            <a:off x="1607869" y="3645030"/>
            <a:ext cx="53674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München</a:t>
            </a:r>
            <a:endParaRPr lang="de-AT" sz="600" b="1" dirty="0"/>
          </a:p>
        </p:txBody>
      </p:sp>
      <p:sp>
        <p:nvSpPr>
          <p:cNvPr id="17" name="Freihandform 16"/>
          <p:cNvSpPr/>
          <p:nvPr/>
        </p:nvSpPr>
        <p:spPr bwMode="auto">
          <a:xfrm>
            <a:off x="1549400" y="2813050"/>
            <a:ext cx="539750" cy="927100"/>
          </a:xfrm>
          <a:custGeom>
            <a:avLst/>
            <a:gdLst>
              <a:gd name="connsiteX0" fmla="*/ 0 w 539750"/>
              <a:gd name="connsiteY0" fmla="*/ 0 h 927100"/>
              <a:gd name="connsiteX1" fmla="*/ 406400 w 539750"/>
              <a:gd name="connsiteY1" fmla="*/ 393700 h 927100"/>
              <a:gd name="connsiteX2" fmla="*/ 539750 w 539750"/>
              <a:gd name="connsiteY2" fmla="*/ 927100 h 927100"/>
              <a:gd name="connsiteX3" fmla="*/ 539750 w 539750"/>
              <a:gd name="connsiteY3" fmla="*/ 927100 h 92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9750" h="927100">
                <a:moveTo>
                  <a:pt x="0" y="0"/>
                </a:moveTo>
                <a:cubicBezTo>
                  <a:pt x="158221" y="119591"/>
                  <a:pt x="316442" y="239183"/>
                  <a:pt x="406400" y="393700"/>
                </a:cubicBezTo>
                <a:cubicBezTo>
                  <a:pt x="496358" y="548217"/>
                  <a:pt x="539750" y="927100"/>
                  <a:pt x="539750" y="927100"/>
                </a:cubicBezTo>
                <a:lnTo>
                  <a:pt x="539750" y="92710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4" name="Ellipse 147"/>
          <p:cNvSpPr/>
          <p:nvPr/>
        </p:nvSpPr>
        <p:spPr bwMode="auto">
          <a:xfrm>
            <a:off x="2158568" y="3554942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5" name="Textfeld 274"/>
          <p:cNvSpPr txBox="1"/>
          <p:nvPr/>
        </p:nvSpPr>
        <p:spPr>
          <a:xfrm>
            <a:off x="2110651" y="3412981"/>
            <a:ext cx="70239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Regensburg</a:t>
            </a:r>
            <a:endParaRPr lang="de-AT" sz="600" b="1" dirty="0"/>
          </a:p>
        </p:txBody>
      </p:sp>
      <p:sp>
        <p:nvSpPr>
          <p:cNvPr id="18" name="Freihandform 17"/>
          <p:cNvSpPr/>
          <p:nvPr/>
        </p:nvSpPr>
        <p:spPr bwMode="auto">
          <a:xfrm>
            <a:off x="2101850" y="3587750"/>
            <a:ext cx="88900" cy="165100"/>
          </a:xfrm>
          <a:custGeom>
            <a:avLst/>
            <a:gdLst>
              <a:gd name="connsiteX0" fmla="*/ 0 w 88900"/>
              <a:gd name="connsiteY0" fmla="*/ 165100 h 165100"/>
              <a:gd name="connsiteX1" fmla="*/ 88900 w 88900"/>
              <a:gd name="connsiteY1" fmla="*/ 0 h 165100"/>
              <a:gd name="connsiteX2" fmla="*/ 88900 w 88900"/>
              <a:gd name="connsiteY2" fmla="*/ 0 h 16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" h="165100">
                <a:moveTo>
                  <a:pt x="0" y="165100"/>
                </a:moveTo>
                <a:lnTo>
                  <a:pt x="88900" y="0"/>
                </a:lnTo>
                <a:lnTo>
                  <a:pt x="88900" y="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6" name="Ellipse 147"/>
          <p:cNvSpPr/>
          <p:nvPr/>
        </p:nvSpPr>
        <p:spPr bwMode="auto">
          <a:xfrm>
            <a:off x="1136470" y="299694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7" name="Textfeld 276"/>
          <p:cNvSpPr txBox="1"/>
          <p:nvPr/>
        </p:nvSpPr>
        <p:spPr>
          <a:xfrm>
            <a:off x="833912" y="3028304"/>
            <a:ext cx="51858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600" b="1" dirty="0" smtClean="0"/>
              <a:t>Krefeld</a:t>
            </a:r>
            <a:endParaRPr lang="de-AT" sz="600" b="1" dirty="0"/>
          </a:p>
        </p:txBody>
      </p:sp>
      <p:sp>
        <p:nvSpPr>
          <p:cNvPr id="21" name="Freihandform 20"/>
          <p:cNvSpPr/>
          <p:nvPr/>
        </p:nvSpPr>
        <p:spPr bwMode="auto">
          <a:xfrm>
            <a:off x="1149350" y="3035300"/>
            <a:ext cx="1041400" cy="546100"/>
          </a:xfrm>
          <a:custGeom>
            <a:avLst/>
            <a:gdLst>
              <a:gd name="connsiteX0" fmla="*/ 0 w 1041400"/>
              <a:gd name="connsiteY0" fmla="*/ 0 h 546100"/>
              <a:gd name="connsiteX1" fmla="*/ 323850 w 1041400"/>
              <a:gd name="connsiteY1" fmla="*/ 69850 h 546100"/>
              <a:gd name="connsiteX2" fmla="*/ 552450 w 1041400"/>
              <a:gd name="connsiteY2" fmla="*/ 228600 h 546100"/>
              <a:gd name="connsiteX3" fmla="*/ 844550 w 1041400"/>
              <a:gd name="connsiteY3" fmla="*/ 431800 h 546100"/>
              <a:gd name="connsiteX4" fmla="*/ 1041400 w 1041400"/>
              <a:gd name="connsiteY4" fmla="*/ 546100 h 546100"/>
              <a:gd name="connsiteX5" fmla="*/ 1041400 w 1041400"/>
              <a:gd name="connsiteY5" fmla="*/ 546100 h 546100"/>
              <a:gd name="connsiteX6" fmla="*/ 1041400 w 1041400"/>
              <a:gd name="connsiteY6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1400" h="546100">
                <a:moveTo>
                  <a:pt x="0" y="0"/>
                </a:moveTo>
                <a:cubicBezTo>
                  <a:pt x="115887" y="15875"/>
                  <a:pt x="231775" y="31750"/>
                  <a:pt x="323850" y="69850"/>
                </a:cubicBezTo>
                <a:cubicBezTo>
                  <a:pt x="415925" y="107950"/>
                  <a:pt x="552450" y="228600"/>
                  <a:pt x="552450" y="228600"/>
                </a:cubicBezTo>
                <a:cubicBezTo>
                  <a:pt x="639233" y="288925"/>
                  <a:pt x="763058" y="378883"/>
                  <a:pt x="844550" y="431800"/>
                </a:cubicBezTo>
                <a:cubicBezTo>
                  <a:pt x="926042" y="484717"/>
                  <a:pt x="1041400" y="546100"/>
                  <a:pt x="1041400" y="546100"/>
                </a:cubicBezTo>
                <a:lnTo>
                  <a:pt x="1041400" y="546100"/>
                </a:lnTo>
                <a:lnTo>
                  <a:pt x="1041400" y="54610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8" name="Ellipse 147"/>
          <p:cNvSpPr/>
          <p:nvPr/>
        </p:nvSpPr>
        <p:spPr bwMode="auto">
          <a:xfrm>
            <a:off x="2262314" y="3180111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79" name="Rectangle 192"/>
          <p:cNvSpPr/>
          <p:nvPr/>
        </p:nvSpPr>
        <p:spPr>
          <a:xfrm>
            <a:off x="2144610" y="3212970"/>
            <a:ext cx="394660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sz="600" b="1" dirty="0" err="1"/>
              <a:t>Děčín</a:t>
            </a:r>
            <a:endParaRPr lang="en-GB" sz="600" b="1" dirty="0"/>
          </a:p>
        </p:txBody>
      </p:sp>
      <p:sp>
        <p:nvSpPr>
          <p:cNvPr id="24" name="Freihandform 23"/>
          <p:cNvSpPr/>
          <p:nvPr/>
        </p:nvSpPr>
        <p:spPr bwMode="auto">
          <a:xfrm>
            <a:off x="2279650" y="3213100"/>
            <a:ext cx="514350" cy="342900"/>
          </a:xfrm>
          <a:custGeom>
            <a:avLst/>
            <a:gdLst>
              <a:gd name="connsiteX0" fmla="*/ 0 w 514350"/>
              <a:gd name="connsiteY0" fmla="*/ 0 h 342900"/>
              <a:gd name="connsiteX1" fmla="*/ 349250 w 514350"/>
              <a:gd name="connsiteY1" fmla="*/ 101600 h 342900"/>
              <a:gd name="connsiteX2" fmla="*/ 368300 w 514350"/>
              <a:gd name="connsiteY2" fmla="*/ 222250 h 342900"/>
              <a:gd name="connsiteX3" fmla="*/ 514350 w 514350"/>
              <a:gd name="connsiteY3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" h="342900">
                <a:moveTo>
                  <a:pt x="0" y="0"/>
                </a:moveTo>
                <a:cubicBezTo>
                  <a:pt x="143933" y="32279"/>
                  <a:pt x="287867" y="64558"/>
                  <a:pt x="349250" y="101600"/>
                </a:cubicBezTo>
                <a:cubicBezTo>
                  <a:pt x="410633" y="138642"/>
                  <a:pt x="340783" y="182033"/>
                  <a:pt x="368300" y="222250"/>
                </a:cubicBezTo>
                <a:cubicBezTo>
                  <a:pt x="395817" y="262467"/>
                  <a:pt x="455083" y="302683"/>
                  <a:pt x="514350" y="342900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54" name="Ellipse 353"/>
          <p:cNvSpPr/>
          <p:nvPr/>
        </p:nvSpPr>
        <p:spPr bwMode="auto">
          <a:xfrm>
            <a:off x="5241040" y="5020550"/>
            <a:ext cx="57332" cy="6468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55" name="Textfeld 354"/>
          <p:cNvSpPr txBox="1"/>
          <p:nvPr/>
        </p:nvSpPr>
        <p:spPr>
          <a:xfrm>
            <a:off x="5169030" y="5044584"/>
            <a:ext cx="614629" cy="184666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r>
              <a:rPr lang="de-AT" sz="600" b="1" dirty="0" err="1"/>
              <a:t>Halkalı</a:t>
            </a:r>
            <a:endParaRPr lang="de-AT" sz="600" b="1" dirty="0" smtClean="0"/>
          </a:p>
        </p:txBody>
      </p:sp>
      <p:sp>
        <p:nvSpPr>
          <p:cNvPr id="29" name="Freihandform 28"/>
          <p:cNvSpPr/>
          <p:nvPr/>
        </p:nvSpPr>
        <p:spPr bwMode="auto">
          <a:xfrm>
            <a:off x="5185239" y="5040775"/>
            <a:ext cx="104775" cy="9525"/>
          </a:xfrm>
          <a:custGeom>
            <a:avLst/>
            <a:gdLst>
              <a:gd name="connsiteX0" fmla="*/ 0 w 104775"/>
              <a:gd name="connsiteY0" fmla="*/ 0 h 9525"/>
              <a:gd name="connsiteX1" fmla="*/ 104775 w 104775"/>
              <a:gd name="connsiteY1" fmla="*/ 9525 h 9525"/>
              <a:gd name="connsiteX2" fmla="*/ 104775 w 104775"/>
              <a:gd name="connsiteY2" fmla="*/ 9525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775" h="9525">
                <a:moveTo>
                  <a:pt x="0" y="0"/>
                </a:moveTo>
                <a:lnTo>
                  <a:pt x="104775" y="9525"/>
                </a:lnTo>
                <a:lnTo>
                  <a:pt x="104775" y="95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5" name="Téglalap 4"/>
          <p:cNvSpPr/>
          <p:nvPr/>
        </p:nvSpPr>
        <p:spPr>
          <a:xfrm>
            <a:off x="6772758" y="1316289"/>
            <a:ext cx="3006673" cy="5119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04850" lvl="1" indent="-285750">
              <a:spcBef>
                <a:spcPts val="4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rgbClr val="000000"/>
                </a:solidFill>
              </a:rPr>
              <a:t>International traction entity of Rail Cargo Group </a:t>
            </a:r>
            <a:r>
              <a:rPr lang="en-US" sz="1500" dirty="0">
                <a:solidFill>
                  <a:srgbClr val="000000"/>
                </a:solidFill>
              </a:rPr>
              <a:t>with locos and personnel provided internally </a:t>
            </a:r>
          </a:p>
          <a:p>
            <a:pPr marL="704850" lvl="1" indent="-285750">
              <a:spcBef>
                <a:spcPts val="4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rgbClr val="000000"/>
                </a:solidFill>
              </a:rPr>
              <a:t>Focus: high-quality, international long-distance transports </a:t>
            </a:r>
            <a:r>
              <a:rPr lang="en-US" sz="1500" dirty="0">
                <a:solidFill>
                  <a:srgbClr val="000000"/>
                </a:solidFill>
              </a:rPr>
              <a:t>– last-mile services and single wagon traffic through the cooperation with national partner RUs</a:t>
            </a:r>
          </a:p>
          <a:p>
            <a:pPr marL="704850" lvl="1" indent="-285750">
              <a:spcBef>
                <a:spcPts val="400"/>
              </a:spcBef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500" b="1" dirty="0">
                <a:solidFill>
                  <a:srgbClr val="000000"/>
                </a:solidFill>
              </a:rPr>
              <a:t>High quality of transports </a:t>
            </a:r>
            <a:r>
              <a:rPr lang="en-US" sz="1500" dirty="0">
                <a:solidFill>
                  <a:srgbClr val="000000"/>
                </a:solidFill>
              </a:rPr>
              <a:t>through </a:t>
            </a:r>
            <a:r>
              <a:rPr lang="en-US" sz="1500" b="1" dirty="0">
                <a:solidFill>
                  <a:srgbClr val="000000"/>
                </a:solidFill>
              </a:rPr>
              <a:t>seamless cross-border operations using modern locomotives and overall traffic monitoring</a:t>
            </a:r>
          </a:p>
        </p:txBody>
      </p:sp>
    </p:spTree>
    <p:extLst>
      <p:ext uri="{BB962C8B-B14F-4D97-AF65-F5344CB8AC3E}">
        <p14:creationId xmlns:p14="http://schemas.microsoft.com/office/powerpoint/2010/main" val="337449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166" y="1475818"/>
            <a:ext cx="8157044" cy="471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37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54088" rtl="0"/>
            <a:r>
              <a:rPr lang="en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Rail Cargo Hungaria in numbers</a:t>
            </a:r>
          </a:p>
        </p:txBody>
      </p:sp>
      <p:sp>
        <p:nvSpPr>
          <p:cNvPr id="14340" name="Foliennummernplatzhalter 5"/>
          <p:cNvSpPr>
            <a:spLocks noGrp="1"/>
          </p:cNvSpPr>
          <p:nvPr>
            <p:ph type="sldNum" sz="quarter" idx="16"/>
          </p:nvPr>
        </p:nvSpPr>
        <p:spPr>
          <a:noFill/>
        </p:spPr>
        <p:txBody>
          <a:bodyPr/>
          <a:lstStyle/>
          <a:p>
            <a:pPr algn="r" rtl="0"/>
            <a:fld id="{7273E4A2-4878-47CE-B940-9BE931FE0D74}" type="slidenum">
              <a:rPr>
                <a:ea typeface="MS PGothic"/>
                <a:cs typeface="MS PGothic"/>
              </a:rPr>
              <a:pPr algn="r" rtl="0"/>
              <a:t>8</a:t>
            </a:fld>
            <a:endParaRPr lang="en" smtClean="0">
              <a:ea typeface="MS PGothic"/>
              <a:cs typeface="MS PGothic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498356" y="1514765"/>
            <a:ext cx="4003975" cy="286205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176" tIns="45589" rIns="91176" bIns="45589">
            <a:spAutoFit/>
          </a:bodyPr>
          <a:lstStyle>
            <a:defPPr>
              <a:defRPr lang="en"/>
            </a:defPPr>
            <a:lvl1pPr marL="285750" indent="-285750" algn="ctr" eaLnBrk="0" hangingPunct="0">
              <a:spcBef>
                <a:spcPct val="50000"/>
              </a:spcBef>
              <a:buClr>
                <a:schemeClr val="accent6"/>
              </a:buClr>
              <a:buFont typeface="Wingdings" pitchFamily="2" charset="2"/>
              <a:buChar char="§"/>
              <a:defRPr sz="1800" b="0">
                <a:latin typeface="Arial" pitchFamily="34" charset="0"/>
              </a:defRPr>
            </a:lvl1pPr>
            <a:lvl2pPr marL="742950" indent="-285750" eaLnBrk="0" hangingPunct="0">
              <a:defRPr sz="3200" b="1">
                <a:latin typeface="Arial" pitchFamily="34" charset="0"/>
              </a:defRPr>
            </a:lvl2pPr>
            <a:lvl3pPr marL="1143000" indent="-228600" eaLnBrk="0" hangingPunct="0">
              <a:defRPr sz="3200" b="1">
                <a:latin typeface="Arial" pitchFamily="34" charset="0"/>
              </a:defRPr>
            </a:lvl3pPr>
            <a:lvl4pPr marL="1600200" indent="-228600" eaLnBrk="0" hangingPunct="0">
              <a:defRPr sz="3200" b="1">
                <a:latin typeface="Arial" pitchFamily="34" charset="0"/>
              </a:defRPr>
            </a:lvl4pPr>
            <a:lvl5pPr marL="2057400" indent="-228600" eaLnBrk="0" hangingPunct="0">
              <a:defRPr sz="3200" b="1"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latin typeface="Arial" pitchFamily="34" charset="0"/>
              </a:defRPr>
            </a:lvl9pPr>
          </a:lstStyle>
          <a:p>
            <a:pPr algn="l" rtl="0"/>
            <a:r>
              <a:rPr lang="en" b="0" i="0" u="none" dirty="0"/>
              <a:t>About </a:t>
            </a:r>
            <a:r>
              <a:rPr lang="hu-HU" b="1" dirty="0" smtClean="0"/>
              <a:t>19</a:t>
            </a:r>
            <a:r>
              <a:rPr lang="en" b="1" i="0" u="none" dirty="0" smtClean="0"/>
              <a:t>00 </a:t>
            </a:r>
            <a:r>
              <a:rPr lang="en" b="1" i="0" u="none" dirty="0"/>
              <a:t>employees</a:t>
            </a:r>
          </a:p>
          <a:p>
            <a:pPr algn="l" rtl="0"/>
            <a:r>
              <a:rPr lang="en" b="0" i="0" u="none" dirty="0"/>
              <a:t>About</a:t>
            </a:r>
            <a:r>
              <a:rPr lang="en" b="1" i="0" u="none" dirty="0"/>
              <a:t> </a:t>
            </a:r>
            <a:r>
              <a:rPr lang="hu-HU" b="1" dirty="0"/>
              <a:t>9</a:t>
            </a:r>
            <a:r>
              <a:rPr lang="en" b="1" i="0" u="none" dirty="0" smtClean="0"/>
              <a:t>,000</a:t>
            </a:r>
            <a:r>
              <a:rPr lang="en" b="0" i="0" u="none" dirty="0" smtClean="0"/>
              <a:t> </a:t>
            </a:r>
            <a:r>
              <a:rPr lang="en" b="1" i="0" u="none" dirty="0"/>
              <a:t>wagons</a:t>
            </a:r>
            <a:r>
              <a:rPr lang="en" b="0" i="0" u="none" dirty="0"/>
              <a:t> </a:t>
            </a:r>
          </a:p>
          <a:p>
            <a:pPr algn="l" rtl="0"/>
            <a:r>
              <a:rPr lang="en" b="1" i="0" u="none" dirty="0" smtClean="0"/>
              <a:t>2</a:t>
            </a:r>
            <a:r>
              <a:rPr lang="hu-HU" b="1" dirty="0"/>
              <a:t>5</a:t>
            </a:r>
            <a:r>
              <a:rPr lang="en" b="1" i="0" u="none" dirty="0" smtClean="0"/>
              <a:t> </a:t>
            </a:r>
            <a:r>
              <a:rPr lang="en" b="1" i="0" u="none" dirty="0"/>
              <a:t>Taurus locomotives</a:t>
            </a:r>
            <a:endParaRPr lang="en" b="1" dirty="0"/>
          </a:p>
          <a:p>
            <a:pPr algn="l" rtl="0"/>
            <a:r>
              <a:rPr lang="en" b="1" i="0" u="none" dirty="0" smtClean="0"/>
              <a:t>1</a:t>
            </a:r>
            <a:r>
              <a:rPr lang="hu-HU" b="1" i="0" u="none" dirty="0" smtClean="0"/>
              <a:t>50</a:t>
            </a:r>
            <a:r>
              <a:rPr lang="en" b="1" i="0" u="none" dirty="0" smtClean="0"/>
              <a:t> </a:t>
            </a:r>
            <a:r>
              <a:rPr lang="en" b="1" i="0" u="none" dirty="0"/>
              <a:t>locomotive drivers</a:t>
            </a:r>
            <a:endParaRPr lang="en" b="1" dirty="0"/>
          </a:p>
          <a:p>
            <a:pPr algn="l" rtl="0"/>
            <a:r>
              <a:rPr lang="en" b="1" i="0" u="none" dirty="0" smtClean="0"/>
              <a:t>32 </a:t>
            </a:r>
            <a:r>
              <a:rPr lang="en" b="1" i="0" u="none" dirty="0">
                <a:solidFill>
                  <a:srgbClr val="000000"/>
                </a:solidFill>
                <a:latin typeface="Arial" charset="0"/>
              </a:rPr>
              <a:t>million</a:t>
            </a:r>
            <a:r>
              <a:rPr lang="en" b="0" i="0" u="none" dirty="0">
                <a:solidFill>
                  <a:srgbClr val="000000"/>
                </a:solidFill>
                <a:latin typeface="Arial" charset="0"/>
              </a:rPr>
              <a:t> tons transported</a:t>
            </a:r>
          </a:p>
          <a:p>
            <a:pPr algn="l" rtl="0"/>
            <a:r>
              <a:rPr lang="en" b="0" i="0" u="none" dirty="0"/>
              <a:t>Almost </a:t>
            </a:r>
            <a:r>
              <a:rPr lang="en" b="1" i="0" u="none" dirty="0"/>
              <a:t>700 service points</a:t>
            </a:r>
            <a:endParaRPr lang="en" b="1" dirty="0"/>
          </a:p>
          <a:p>
            <a:pPr algn="l" rtl="0"/>
            <a:r>
              <a:rPr lang="hu-HU" b="1" dirty="0" smtClean="0"/>
              <a:t>65</a:t>
            </a:r>
            <a:r>
              <a:rPr lang="en" b="1" i="0" u="none" dirty="0" smtClean="0"/>
              <a:t>% </a:t>
            </a:r>
            <a:r>
              <a:rPr lang="en" b="1" i="0" u="none" dirty="0"/>
              <a:t>market share in Hungary</a:t>
            </a:r>
            <a:r>
              <a:rPr lang="en" b="0" i="0" u="none" dirty="0"/>
              <a:t> </a:t>
            </a:r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060011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rtalom helye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764010266"/>
              </p:ext>
            </p:extLst>
          </p:nvPr>
        </p:nvGraphicFramePr>
        <p:xfrm>
          <a:off x="560388" y="1728788"/>
          <a:ext cx="8853487" cy="4371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Distribution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traffic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900" b="0" kern="1200" dirty="0" err="1">
                <a:latin typeface="Arial" panose="020B0604020202020204" pitchFamily="34" charset="0"/>
                <a:cs typeface="Arial" panose="020B0604020202020204" pitchFamily="34" charset="0"/>
              </a:rPr>
              <a:t>volume</a:t>
            </a:r>
            <a:r>
              <a:rPr lang="hu-HU" sz="1900" b="0" kern="1200" dirty="0">
                <a:latin typeface="Arial" panose="020B0604020202020204" pitchFamily="34" charset="0"/>
                <a:cs typeface="Arial" panose="020B0604020202020204" pitchFamily="34" charset="0"/>
              </a:rPr>
              <a:t> of Rail Cargo Hungaria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736F4303-2A52-4192-836D-2D5C0FE463E1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2" name="Szövegdoboz 1"/>
          <p:cNvSpPr txBox="1"/>
          <p:nvPr/>
        </p:nvSpPr>
        <p:spPr>
          <a:xfrm>
            <a:off x="764275" y="5554639"/>
            <a:ext cx="83251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dirty="0" smtClean="0"/>
              <a:t>The </a:t>
            </a:r>
            <a:r>
              <a:rPr lang="hu-HU" sz="1800" dirty="0" err="1" smtClean="0"/>
              <a:t>subsidies</a:t>
            </a:r>
            <a:r>
              <a:rPr lang="hu-HU" sz="1800" dirty="0" smtClean="0"/>
              <a:t> of </a:t>
            </a:r>
            <a:r>
              <a:rPr lang="hu-HU" sz="1800" dirty="0" err="1" smtClean="0"/>
              <a:t>the</a:t>
            </a:r>
            <a:r>
              <a:rPr lang="hu-HU" sz="1800" dirty="0" smtClean="0"/>
              <a:t> </a:t>
            </a:r>
            <a:r>
              <a:rPr lang="hu-HU" sz="1800" dirty="0" err="1" smtClean="0"/>
              <a:t>Hungarian</a:t>
            </a:r>
            <a:r>
              <a:rPr lang="hu-HU" sz="1800" dirty="0" smtClean="0"/>
              <a:t> </a:t>
            </a:r>
            <a:r>
              <a:rPr lang="hu-HU" sz="1800" dirty="0" err="1" smtClean="0"/>
              <a:t>State</a:t>
            </a:r>
            <a:r>
              <a:rPr lang="hu-HU" sz="1800" dirty="0" smtClean="0"/>
              <a:t> </a:t>
            </a:r>
            <a:r>
              <a:rPr lang="hu-HU" sz="1800" dirty="0" err="1" smtClean="0"/>
              <a:t>for</a:t>
            </a:r>
            <a:r>
              <a:rPr lang="hu-HU" sz="1800" dirty="0" smtClean="0"/>
              <a:t> </a:t>
            </a:r>
            <a:r>
              <a:rPr lang="hu-HU" sz="1800" dirty="0" err="1" smtClean="0"/>
              <a:t>single-wagon</a:t>
            </a:r>
            <a:r>
              <a:rPr lang="hu-HU" sz="1800" dirty="0" smtClean="0"/>
              <a:t> </a:t>
            </a:r>
            <a:r>
              <a:rPr lang="hu-HU" sz="1800" dirty="0" err="1" smtClean="0"/>
              <a:t>forwarding</a:t>
            </a:r>
            <a:r>
              <a:rPr lang="hu-HU" sz="1800" dirty="0" smtClean="0"/>
              <a:t>: </a:t>
            </a:r>
            <a:r>
              <a:rPr lang="hu-HU" sz="1800" b="1" dirty="0" smtClean="0"/>
              <a:t>HUF</a:t>
            </a:r>
            <a:r>
              <a:rPr lang="hu-HU" sz="1800" dirty="0" smtClean="0"/>
              <a:t> </a:t>
            </a:r>
            <a:r>
              <a:rPr lang="hu-HU" sz="1800" b="1" dirty="0" smtClean="0"/>
              <a:t>0.</a:t>
            </a:r>
            <a:endParaRPr lang="hu-HU" sz="1800" b="1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8364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5L0zaChE.Ir_Tiii_R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0.ZW96uUWozHwIwtc8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eyrr1qTpOtJz31O.0RmQ"/>
</p:tagLst>
</file>

<file path=ppt/theme/theme1.xml><?xml version="1.0" encoding="utf-8"?>
<a:theme xmlns:a="http://schemas.openxmlformats.org/drawingml/2006/main" name="Leere Präsentation">
  <a:themeElements>
    <a:clrScheme name="Benutzerdefiniert 38">
      <a:dk1>
        <a:srgbClr val="000000"/>
      </a:dk1>
      <a:lt1>
        <a:srgbClr val="FFFFFF"/>
      </a:lt1>
      <a:dk2>
        <a:srgbClr val="646464"/>
      </a:dk2>
      <a:lt2>
        <a:srgbClr val="959595"/>
      </a:lt2>
      <a:accent1>
        <a:srgbClr val="E2002A"/>
      </a:accent1>
      <a:accent2>
        <a:srgbClr val="ABABAB"/>
      </a:accent2>
      <a:accent3>
        <a:srgbClr val="7D7D7D"/>
      </a:accent3>
      <a:accent4>
        <a:srgbClr val="C1C1C1"/>
      </a:accent4>
      <a:accent5>
        <a:srgbClr val="D6D6D6"/>
      </a:accent5>
      <a:accent6>
        <a:srgbClr val="234B9E"/>
      </a:accent6>
      <a:hlink>
        <a:srgbClr val="234B9E"/>
      </a:hlink>
      <a:folHlink>
        <a:srgbClr val="99CC00"/>
      </a:folHlink>
    </a:clrScheme>
    <a:fontScheme name="Leere Präsentation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40</TotalTime>
  <Words>891</Words>
  <Application>Microsoft Office PowerPoint</Application>
  <PresentationFormat>A4 (210x297 mm)</PresentationFormat>
  <Paragraphs>366</Paragraphs>
  <Slides>21</Slides>
  <Notes>13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1</vt:i4>
      </vt:variant>
    </vt:vector>
  </HeadingPairs>
  <TitlesOfParts>
    <vt:vector size="23" baseType="lpstr">
      <vt:lpstr>Leere Präsentation</vt:lpstr>
      <vt:lpstr>think-cell Folie</vt:lpstr>
      <vt:lpstr>Rail Cargo Hungaria Zrt.</vt:lpstr>
      <vt:lpstr>PowerPoint bemutató</vt:lpstr>
      <vt:lpstr>International presence – subsidiaries</vt:lpstr>
      <vt:lpstr>Rail Cargo Group: Your partner in Europe</vt:lpstr>
      <vt:lpstr>Rail Cargo Group at a glance</vt:lpstr>
      <vt:lpstr>Rail Cargo Group business model</vt:lpstr>
      <vt:lpstr>RCC objective: fast, safe and high-quality transports throughout Europe</vt:lpstr>
      <vt:lpstr>Rail Cargo Hungaria in numbers</vt:lpstr>
      <vt:lpstr>Distribution of traffic volume of Rail Cargo Hungaria</vt:lpstr>
      <vt:lpstr>Traffic volume according to segments in 2016 (percentage)</vt:lpstr>
      <vt:lpstr>PGV Agreement </vt:lpstr>
      <vt:lpstr>Záhony-Port Co.</vt:lpstr>
      <vt:lpstr>Loading by crane </vt:lpstr>
      <vt:lpstr>Záhony-Port Co.</vt:lpstr>
      <vt:lpstr>Záhony-Port Co.</vt:lpstr>
      <vt:lpstr>Rail Cargo Terminal-BILK Ltd.</vt:lpstr>
      <vt:lpstr>Rail network</vt:lpstr>
      <vt:lpstr>Introduction</vt:lpstr>
      <vt:lpstr>Provided services</vt:lpstr>
      <vt:lpstr>Rail Cargo Terminal-BILK Ltd.</vt:lpstr>
      <vt:lpstr>PowerPoint bemutató</vt:lpstr>
    </vt:vector>
  </TitlesOfParts>
  <Company>Lukas L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kas L.</dc:creator>
  <cp:lastModifiedBy>Dezső Dániel</cp:lastModifiedBy>
  <cp:revision>762</cp:revision>
  <cp:lastPrinted>2016-11-15T08:15:00Z</cp:lastPrinted>
  <dcterms:created xsi:type="dcterms:W3CDTF">2012-02-20T16:22:48Z</dcterms:created>
  <dcterms:modified xsi:type="dcterms:W3CDTF">2017-06-01T06:19:51Z</dcterms:modified>
</cp:coreProperties>
</file>